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70" r:id="rId6"/>
    <p:sldId id="269" r:id="rId7"/>
    <p:sldId id="293" r:id="rId8"/>
    <p:sldId id="272" r:id="rId9"/>
    <p:sldId id="282" r:id="rId10"/>
    <p:sldId id="275" r:id="rId11"/>
    <p:sldId id="273" r:id="rId12"/>
    <p:sldId id="284" r:id="rId13"/>
    <p:sldId id="287" r:id="rId14"/>
    <p:sldId id="294" r:id="rId15"/>
    <p:sldId id="277" r:id="rId16"/>
    <p:sldId id="288" r:id="rId17"/>
    <p:sldId id="290" r:id="rId18"/>
    <p:sldId id="291" r:id="rId19"/>
    <p:sldId id="289" r:id="rId20"/>
    <p:sldId id="286" r:id="rId21"/>
    <p:sldId id="292" r:id="rId22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226" autoAdjust="0"/>
  </p:normalViewPr>
  <p:slideViewPr>
    <p:cSldViewPr snapToGrid="0">
      <p:cViewPr varScale="1">
        <p:scale>
          <a:sx n="82" d="100"/>
          <a:sy n="82" d="100"/>
        </p:scale>
        <p:origin x="72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2AF426-4865-4202-906D-666E4F7FF570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C278C76D-2B5B-4C9A-A7F1-079E797AECD3}">
      <dgm:prSet/>
      <dgm:spPr/>
      <dgm:t>
        <a:bodyPr/>
        <a:lstStyle/>
        <a:p>
          <a:r>
            <a:rPr lang="pt-BR" dirty="0"/>
            <a:t>Aumentar o ticket médio do aplicativo </a:t>
          </a:r>
          <a:r>
            <a:rPr lang="pt-BR" dirty="0" err="1"/>
            <a:t>Bees</a:t>
          </a:r>
          <a:endParaRPr lang="en-US" dirty="0"/>
        </a:p>
      </dgm:t>
    </dgm:pt>
    <dgm:pt modelId="{B93531B4-C209-4B25-B7CB-68F52947947E}" type="parTrans" cxnId="{0913945C-99B2-4341-A47C-3C0445A57F42}">
      <dgm:prSet/>
      <dgm:spPr/>
      <dgm:t>
        <a:bodyPr/>
        <a:lstStyle/>
        <a:p>
          <a:endParaRPr lang="en-US"/>
        </a:p>
      </dgm:t>
    </dgm:pt>
    <dgm:pt modelId="{B7BE91ED-E3FE-4707-B600-D6CB55923032}" type="sibTrans" cxnId="{0913945C-99B2-4341-A47C-3C0445A57F42}">
      <dgm:prSet/>
      <dgm:spPr/>
      <dgm:t>
        <a:bodyPr/>
        <a:lstStyle/>
        <a:p>
          <a:endParaRPr lang="en-US"/>
        </a:p>
      </dgm:t>
    </dgm:pt>
    <dgm:pt modelId="{97AD11A9-1BE5-4F12-95CA-10E204AADBBE}">
      <dgm:prSet/>
      <dgm:spPr/>
      <dgm:t>
        <a:bodyPr/>
        <a:lstStyle/>
        <a:p>
          <a:r>
            <a:rPr lang="pt-BR" dirty="0"/>
            <a:t>Recomendar produtos sob demanda</a:t>
          </a:r>
          <a:endParaRPr lang="en-US" dirty="0"/>
        </a:p>
      </dgm:t>
    </dgm:pt>
    <dgm:pt modelId="{7BDC1E26-B461-44F5-A91D-579677A559AF}" type="parTrans" cxnId="{D5A22A71-E6CC-43E1-A084-DC9F41015E80}">
      <dgm:prSet/>
      <dgm:spPr/>
      <dgm:t>
        <a:bodyPr/>
        <a:lstStyle/>
        <a:p>
          <a:endParaRPr lang="en-US"/>
        </a:p>
      </dgm:t>
    </dgm:pt>
    <dgm:pt modelId="{04417AB5-C6E4-40DB-8851-E610E41AD02A}" type="sibTrans" cxnId="{D5A22A71-E6CC-43E1-A084-DC9F41015E80}">
      <dgm:prSet/>
      <dgm:spPr/>
      <dgm:t>
        <a:bodyPr/>
        <a:lstStyle/>
        <a:p>
          <a:endParaRPr lang="en-US"/>
        </a:p>
      </dgm:t>
    </dgm:pt>
    <dgm:pt modelId="{AF368044-C057-4FEC-A3D3-9A9D31BB481C}">
      <dgm:prSet/>
      <dgm:spPr/>
      <dgm:t>
        <a:bodyPr/>
        <a:lstStyle/>
        <a:p>
          <a:r>
            <a:rPr lang="pt-BR" dirty="0"/>
            <a:t>Focalizar em </a:t>
          </a:r>
          <a:r>
            <a:rPr lang="pt-BR" dirty="0" err="1"/>
            <a:t>upselling</a:t>
          </a:r>
          <a:endParaRPr lang="en-US" dirty="0"/>
        </a:p>
      </dgm:t>
    </dgm:pt>
    <dgm:pt modelId="{08FCB17E-CC8A-4F92-BE31-4780CC7EA296}" type="parTrans" cxnId="{79BEC5BF-870C-487A-9F2A-E82B3A2A2054}">
      <dgm:prSet/>
      <dgm:spPr/>
      <dgm:t>
        <a:bodyPr/>
        <a:lstStyle/>
        <a:p>
          <a:endParaRPr lang="en-US"/>
        </a:p>
      </dgm:t>
    </dgm:pt>
    <dgm:pt modelId="{867A8670-08E9-487E-95AE-2AB27A6559D1}" type="sibTrans" cxnId="{79BEC5BF-870C-487A-9F2A-E82B3A2A2054}">
      <dgm:prSet/>
      <dgm:spPr/>
      <dgm:t>
        <a:bodyPr/>
        <a:lstStyle/>
        <a:p>
          <a:endParaRPr lang="en-US"/>
        </a:p>
      </dgm:t>
    </dgm:pt>
    <dgm:pt modelId="{80951752-433C-43A3-9D4B-2DA74FC91B55}">
      <dgm:prSet/>
      <dgm:spPr/>
      <dgm:t>
        <a:bodyPr/>
        <a:lstStyle/>
        <a:p>
          <a:r>
            <a:rPr lang="pt-BR" dirty="0"/>
            <a:t>Medir a canibalização de Produtos</a:t>
          </a:r>
          <a:endParaRPr lang="en-US" dirty="0"/>
        </a:p>
      </dgm:t>
    </dgm:pt>
    <dgm:pt modelId="{C9DF46F9-E189-4021-AAC0-F854B928831D}" type="parTrans" cxnId="{6F8590D3-EE79-4FD9-863A-A98A267DBACF}">
      <dgm:prSet/>
      <dgm:spPr/>
      <dgm:t>
        <a:bodyPr/>
        <a:lstStyle/>
        <a:p>
          <a:endParaRPr lang="en-US"/>
        </a:p>
      </dgm:t>
    </dgm:pt>
    <dgm:pt modelId="{2585AF0A-7C14-4890-9885-F4EB7354B650}" type="sibTrans" cxnId="{6F8590D3-EE79-4FD9-863A-A98A267DBACF}">
      <dgm:prSet/>
      <dgm:spPr/>
      <dgm:t>
        <a:bodyPr/>
        <a:lstStyle/>
        <a:p>
          <a:endParaRPr lang="en-US"/>
        </a:p>
      </dgm:t>
    </dgm:pt>
    <dgm:pt modelId="{5FF354C5-D657-4F47-858F-103B1D450E5C}" type="pres">
      <dgm:prSet presAssocID="{4B2AF426-4865-4202-906D-666E4F7FF570}" presName="linear" presStyleCnt="0">
        <dgm:presLayoutVars>
          <dgm:animLvl val="lvl"/>
          <dgm:resizeHandles val="exact"/>
        </dgm:presLayoutVars>
      </dgm:prSet>
      <dgm:spPr/>
    </dgm:pt>
    <dgm:pt modelId="{CC90CA81-C2DF-4BD9-B281-45F1A1D9F7F2}" type="pres">
      <dgm:prSet presAssocID="{C278C76D-2B5B-4C9A-A7F1-079E797AECD3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D18733F-CA3C-454C-ADE6-37E6348F34FB}" type="pres">
      <dgm:prSet presAssocID="{B7BE91ED-E3FE-4707-B600-D6CB55923032}" presName="spacer" presStyleCnt="0"/>
      <dgm:spPr/>
    </dgm:pt>
    <dgm:pt modelId="{8C7A4278-29B1-48E0-AA1A-5C798A86A186}" type="pres">
      <dgm:prSet presAssocID="{97AD11A9-1BE5-4F12-95CA-10E204AADB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74271004-62D6-4A3C-8F4B-5D68B9509611}" type="pres">
      <dgm:prSet presAssocID="{04417AB5-C6E4-40DB-8851-E610E41AD02A}" presName="spacer" presStyleCnt="0"/>
      <dgm:spPr/>
    </dgm:pt>
    <dgm:pt modelId="{90A421CC-3394-4857-A505-58423BDAD7A2}" type="pres">
      <dgm:prSet presAssocID="{AF368044-C057-4FEC-A3D3-9A9D31BB481C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00CCDAB5-4F06-4257-BEF4-307B6641C7C1}" type="pres">
      <dgm:prSet presAssocID="{867A8670-08E9-487E-95AE-2AB27A6559D1}" presName="spacer" presStyleCnt="0"/>
      <dgm:spPr/>
    </dgm:pt>
    <dgm:pt modelId="{409487F4-511A-4B0E-975F-E8A05766DDF3}" type="pres">
      <dgm:prSet presAssocID="{80951752-433C-43A3-9D4B-2DA74FC91B55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EA219B01-B37F-4636-ADCF-9681C3EE8962}" type="presOf" srcId="{AF368044-C057-4FEC-A3D3-9A9D31BB481C}" destId="{90A421CC-3394-4857-A505-58423BDAD7A2}" srcOrd="0" destOrd="0" presId="urn:microsoft.com/office/officeart/2005/8/layout/vList2"/>
    <dgm:cxn modelId="{0913945C-99B2-4341-A47C-3C0445A57F42}" srcId="{4B2AF426-4865-4202-906D-666E4F7FF570}" destId="{C278C76D-2B5B-4C9A-A7F1-079E797AECD3}" srcOrd="0" destOrd="0" parTransId="{B93531B4-C209-4B25-B7CB-68F52947947E}" sibTransId="{B7BE91ED-E3FE-4707-B600-D6CB55923032}"/>
    <dgm:cxn modelId="{719B8C47-3B20-4B98-A47E-F0CAE84DDBBC}" type="presOf" srcId="{C278C76D-2B5B-4C9A-A7F1-079E797AECD3}" destId="{CC90CA81-C2DF-4BD9-B281-45F1A1D9F7F2}" srcOrd="0" destOrd="0" presId="urn:microsoft.com/office/officeart/2005/8/layout/vList2"/>
    <dgm:cxn modelId="{D5A22A71-E6CC-43E1-A084-DC9F41015E80}" srcId="{4B2AF426-4865-4202-906D-666E4F7FF570}" destId="{97AD11A9-1BE5-4F12-95CA-10E204AADBBE}" srcOrd="1" destOrd="0" parTransId="{7BDC1E26-B461-44F5-A91D-579677A559AF}" sibTransId="{04417AB5-C6E4-40DB-8851-E610E41AD02A}"/>
    <dgm:cxn modelId="{439CFB7C-397D-4877-90DE-8554F943EA72}" type="presOf" srcId="{97AD11A9-1BE5-4F12-95CA-10E204AADBBE}" destId="{8C7A4278-29B1-48E0-AA1A-5C798A86A186}" srcOrd="0" destOrd="0" presId="urn:microsoft.com/office/officeart/2005/8/layout/vList2"/>
    <dgm:cxn modelId="{9E6FE39F-8996-4C18-9E39-8197F5E97F8C}" type="presOf" srcId="{80951752-433C-43A3-9D4B-2DA74FC91B55}" destId="{409487F4-511A-4B0E-975F-E8A05766DDF3}" srcOrd="0" destOrd="0" presId="urn:microsoft.com/office/officeart/2005/8/layout/vList2"/>
    <dgm:cxn modelId="{79BEC5BF-870C-487A-9F2A-E82B3A2A2054}" srcId="{4B2AF426-4865-4202-906D-666E4F7FF570}" destId="{AF368044-C057-4FEC-A3D3-9A9D31BB481C}" srcOrd="2" destOrd="0" parTransId="{08FCB17E-CC8A-4F92-BE31-4780CC7EA296}" sibTransId="{867A8670-08E9-487E-95AE-2AB27A6559D1}"/>
    <dgm:cxn modelId="{6F8590D3-EE79-4FD9-863A-A98A267DBACF}" srcId="{4B2AF426-4865-4202-906D-666E4F7FF570}" destId="{80951752-433C-43A3-9D4B-2DA74FC91B55}" srcOrd="3" destOrd="0" parTransId="{C9DF46F9-E189-4021-AAC0-F854B928831D}" sibTransId="{2585AF0A-7C14-4890-9885-F4EB7354B650}"/>
    <dgm:cxn modelId="{0B7DFDFF-E686-47AC-A701-8CEA8FFD9722}" type="presOf" srcId="{4B2AF426-4865-4202-906D-666E4F7FF570}" destId="{5FF354C5-D657-4F47-858F-103B1D450E5C}" srcOrd="0" destOrd="0" presId="urn:microsoft.com/office/officeart/2005/8/layout/vList2"/>
    <dgm:cxn modelId="{3D7C1BA7-3501-466A-81BD-FDB42EE77FC1}" type="presParOf" srcId="{5FF354C5-D657-4F47-858F-103B1D450E5C}" destId="{CC90CA81-C2DF-4BD9-B281-45F1A1D9F7F2}" srcOrd="0" destOrd="0" presId="urn:microsoft.com/office/officeart/2005/8/layout/vList2"/>
    <dgm:cxn modelId="{6EA898C4-4507-42E3-9461-38384B13BCB2}" type="presParOf" srcId="{5FF354C5-D657-4F47-858F-103B1D450E5C}" destId="{8D18733F-CA3C-454C-ADE6-37E6348F34FB}" srcOrd="1" destOrd="0" presId="urn:microsoft.com/office/officeart/2005/8/layout/vList2"/>
    <dgm:cxn modelId="{47DF83D4-B54B-4499-B290-090333258A6F}" type="presParOf" srcId="{5FF354C5-D657-4F47-858F-103B1D450E5C}" destId="{8C7A4278-29B1-48E0-AA1A-5C798A86A186}" srcOrd="2" destOrd="0" presId="urn:microsoft.com/office/officeart/2005/8/layout/vList2"/>
    <dgm:cxn modelId="{EE045849-F0B7-4A6E-9ABF-518C157FDF51}" type="presParOf" srcId="{5FF354C5-D657-4F47-858F-103B1D450E5C}" destId="{74271004-62D6-4A3C-8F4B-5D68B9509611}" srcOrd="3" destOrd="0" presId="urn:microsoft.com/office/officeart/2005/8/layout/vList2"/>
    <dgm:cxn modelId="{B0897639-972D-4473-9DBE-20652190FD1B}" type="presParOf" srcId="{5FF354C5-D657-4F47-858F-103B1D450E5C}" destId="{90A421CC-3394-4857-A505-58423BDAD7A2}" srcOrd="4" destOrd="0" presId="urn:microsoft.com/office/officeart/2005/8/layout/vList2"/>
    <dgm:cxn modelId="{39C009A9-AC71-440E-86B6-31B04657140D}" type="presParOf" srcId="{5FF354C5-D657-4F47-858F-103B1D450E5C}" destId="{00CCDAB5-4F06-4257-BEF4-307B6641C7C1}" srcOrd="5" destOrd="0" presId="urn:microsoft.com/office/officeart/2005/8/layout/vList2"/>
    <dgm:cxn modelId="{D75926AD-25CF-48D4-B844-0A83358D1EFB}" type="presParOf" srcId="{5FF354C5-D657-4F47-858F-103B1D450E5C}" destId="{409487F4-511A-4B0E-975F-E8A05766DDF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90CA81-C2DF-4BD9-B281-45F1A1D9F7F2}">
      <dsp:nvSpPr>
        <dsp:cNvPr id="0" name=""/>
        <dsp:cNvSpPr/>
      </dsp:nvSpPr>
      <dsp:spPr>
        <a:xfrm>
          <a:off x="0" y="13612"/>
          <a:ext cx="6254749" cy="127413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Aumentar o ticket médio do aplicativo </a:t>
          </a:r>
          <a:r>
            <a:rPr lang="pt-BR" sz="3300" kern="1200" dirty="0" err="1"/>
            <a:t>Bees</a:t>
          </a:r>
          <a:endParaRPr lang="en-US" sz="3300" kern="1200" dirty="0"/>
        </a:p>
      </dsp:txBody>
      <dsp:txXfrm>
        <a:off x="62198" y="75810"/>
        <a:ext cx="6130353" cy="1149734"/>
      </dsp:txXfrm>
    </dsp:sp>
    <dsp:sp modelId="{8C7A4278-29B1-48E0-AA1A-5C798A86A186}">
      <dsp:nvSpPr>
        <dsp:cNvPr id="0" name=""/>
        <dsp:cNvSpPr/>
      </dsp:nvSpPr>
      <dsp:spPr>
        <a:xfrm>
          <a:off x="0" y="1382782"/>
          <a:ext cx="6254749" cy="1274130"/>
        </a:xfrm>
        <a:prstGeom prst="roundRect">
          <a:avLst/>
        </a:prstGeom>
        <a:solidFill>
          <a:schemeClr val="accent2">
            <a:hueOff val="2079554"/>
            <a:satOff val="11835"/>
            <a:lumOff val="3660"/>
            <a:alphaOff val="0"/>
          </a:schemeClr>
        </a:solidFill>
        <a:ln w="12700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Recomendar produtos sob demanda</a:t>
          </a:r>
          <a:endParaRPr lang="en-US" sz="3300" kern="1200" dirty="0"/>
        </a:p>
      </dsp:txBody>
      <dsp:txXfrm>
        <a:off x="62198" y="1444980"/>
        <a:ext cx="6130353" cy="1149734"/>
      </dsp:txXfrm>
    </dsp:sp>
    <dsp:sp modelId="{90A421CC-3394-4857-A505-58423BDAD7A2}">
      <dsp:nvSpPr>
        <dsp:cNvPr id="0" name=""/>
        <dsp:cNvSpPr/>
      </dsp:nvSpPr>
      <dsp:spPr>
        <a:xfrm>
          <a:off x="0" y="2751952"/>
          <a:ext cx="6254749" cy="1274130"/>
        </a:xfrm>
        <a:prstGeom prst="roundRect">
          <a:avLst/>
        </a:prstGeom>
        <a:solidFill>
          <a:schemeClr val="accent2">
            <a:hueOff val="4159108"/>
            <a:satOff val="23669"/>
            <a:lumOff val="7320"/>
            <a:alphaOff val="0"/>
          </a:schemeClr>
        </a:solidFill>
        <a:ln w="12700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Focalizar em </a:t>
          </a:r>
          <a:r>
            <a:rPr lang="pt-BR" sz="3300" kern="1200" dirty="0" err="1"/>
            <a:t>upselling</a:t>
          </a:r>
          <a:endParaRPr lang="en-US" sz="3300" kern="1200" dirty="0"/>
        </a:p>
      </dsp:txBody>
      <dsp:txXfrm>
        <a:off x="62198" y="2814150"/>
        <a:ext cx="6130353" cy="1149734"/>
      </dsp:txXfrm>
    </dsp:sp>
    <dsp:sp modelId="{409487F4-511A-4B0E-975F-E8A05766DDF3}">
      <dsp:nvSpPr>
        <dsp:cNvPr id="0" name=""/>
        <dsp:cNvSpPr/>
      </dsp:nvSpPr>
      <dsp:spPr>
        <a:xfrm>
          <a:off x="0" y="4121122"/>
          <a:ext cx="6254749" cy="1274130"/>
        </a:xfrm>
        <a:prstGeom prst="roundRect">
          <a:avLst/>
        </a:prstGeom>
        <a:solidFill>
          <a:schemeClr val="accent2">
            <a:hueOff val="6238661"/>
            <a:satOff val="35504"/>
            <a:lumOff val="10980"/>
            <a:alphaOff val="0"/>
          </a:schemeClr>
        </a:solidFill>
        <a:ln w="12700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Medir a canibalização de Produtos</a:t>
          </a:r>
          <a:endParaRPr lang="en-US" sz="3300" kern="1200" dirty="0"/>
        </a:p>
      </dsp:txBody>
      <dsp:txXfrm>
        <a:off x="62198" y="4183320"/>
        <a:ext cx="6130353" cy="11497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334D819-9F07-4261-B09B-9E467E5D9002}" type="datetimeFigureOut">
              <a:rPr lang="en-US" dirty="0"/>
              <a:pPr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71766878-3199-4EAB-94E7-2D6D11070E14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9334D819-9F07-4261-B09B-9E467E5D9002}" type="datetimeFigureOut">
              <a:rPr lang="en-US" dirty="0"/>
              <a:pPr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71766878-3199-4EAB-94E7-2D6D11070E14}" type="slidenum">
              <a:rPr lang="en-US" dirty="0"/>
              <a:pPr/>
              <a:t>‹nº›</a:t>
            </a:fld>
            <a:endParaRPr lang="en-US" dirty="0"/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9334D819-9F07-4261-B09B-9E467E5D9002}" type="datetimeFigureOut">
              <a:rPr lang="en-US" dirty="0"/>
              <a:t>10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71766878-3199-4EAB-94E7-2D6D11070E1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3B6EF6B1-2F5F-4411-AEB5-8B462DB20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3152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Slide do think-cell" r:id="rId15" imgW="395" imgH="394" progId="TCLayout.ActiveDocument.1">
                  <p:embed/>
                </p:oleObj>
              </mc:Choice>
              <mc:Fallback>
                <p:oleObj name="Slide do think-cell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334D819-9F07-4261-B09B-9E467E5D9002}" type="datetimeFigureOut">
              <a:rPr lang="en-US" dirty="0"/>
              <a:pPr/>
              <a:t>10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1766878-3199-4EAB-94E7-2D6D11070E14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25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9F7A6BC-888B-4A20-A92A-DA652DD44C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15045" y="1207362"/>
            <a:ext cx="8045373" cy="4286013"/>
          </a:xfrm>
        </p:spPr>
        <p:txBody>
          <a:bodyPr/>
          <a:lstStyle/>
          <a:p>
            <a:r>
              <a:rPr lang="pt-BR" sz="4500" dirty="0"/>
              <a:t>Sistema de recomendação</a:t>
            </a:r>
            <a:br>
              <a:rPr lang="pt-BR" sz="4500" dirty="0"/>
            </a:br>
            <a:r>
              <a:rPr lang="pt-BR" sz="4500" dirty="0"/>
              <a:t>Saideira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4C8DA57-9B4B-4BE2-95B5-ABCCB548E9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3180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34D4C3-CF69-452D-8976-AA28C5B79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istema de recomendação saideira</a:t>
            </a:r>
          </a:p>
        </p:txBody>
      </p:sp>
      <p:pic>
        <p:nvPicPr>
          <p:cNvPr id="7" name="Espaço Reservado para Conteúdo 6" descr="Imagem de desenho animado&#10;&#10;Descrição gerada automaticamente com confiança média">
            <a:extLst>
              <a:ext uri="{FF2B5EF4-FFF2-40B4-BE49-F238E27FC236}">
                <a16:creationId xmlns:a16="http://schemas.microsoft.com/office/drawing/2014/main" id="{4FB7A0FC-4763-43BA-B047-24D3B2D209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83592" y="3005225"/>
            <a:ext cx="1684166" cy="2049958"/>
          </a:xfrm>
        </p:spPr>
      </p:pic>
      <p:pic>
        <p:nvPicPr>
          <p:cNvPr id="9" name="Imagem 8" descr="Ícone&#10;&#10;Descrição gerada automaticamente">
            <a:extLst>
              <a:ext uri="{FF2B5EF4-FFF2-40B4-BE49-F238E27FC236}">
                <a16:creationId xmlns:a16="http://schemas.microsoft.com/office/drawing/2014/main" id="{E32164C9-2F5F-4B54-88A6-287249153E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1929" y="1638627"/>
            <a:ext cx="1114087" cy="1114087"/>
          </a:xfrm>
          <a:prstGeom prst="rect">
            <a:avLst/>
          </a:prstGeom>
        </p:spPr>
      </p:pic>
      <p:pic>
        <p:nvPicPr>
          <p:cNvPr id="11" name="Imagem 10" descr="Logotipo, Ícone&#10;&#10;Descrição gerada automaticamente">
            <a:extLst>
              <a:ext uri="{FF2B5EF4-FFF2-40B4-BE49-F238E27FC236}">
                <a16:creationId xmlns:a16="http://schemas.microsoft.com/office/drawing/2014/main" id="{0AA44D39-FBA0-4C21-AC5F-92CEABA721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1790" y="5055183"/>
            <a:ext cx="1095070" cy="1095070"/>
          </a:xfrm>
          <a:prstGeom prst="rect">
            <a:avLst/>
          </a:prstGeom>
        </p:spPr>
      </p:pic>
      <p:pic>
        <p:nvPicPr>
          <p:cNvPr id="13" name="Imagem 12" descr="Ícone&#10;&#10;Descrição gerada automaticamente">
            <a:extLst>
              <a:ext uri="{FF2B5EF4-FFF2-40B4-BE49-F238E27FC236}">
                <a16:creationId xmlns:a16="http://schemas.microsoft.com/office/drawing/2014/main" id="{1A9AD6D5-0289-491E-A641-687AFF1F7E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8217" y="3336457"/>
            <a:ext cx="1095071" cy="1095071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FCCF2740-985E-481E-A893-EDCD3E084530}"/>
              </a:ext>
            </a:extLst>
          </p:cNvPr>
          <p:cNvSpPr txBox="1"/>
          <p:nvPr/>
        </p:nvSpPr>
        <p:spPr>
          <a:xfrm>
            <a:off x="4878497" y="2772521"/>
            <a:ext cx="2301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Market </a:t>
            </a:r>
            <a:r>
              <a:rPr lang="pt-BR" dirty="0" err="1"/>
              <a:t>Basket</a:t>
            </a:r>
            <a:r>
              <a:rPr lang="pt-BR" dirty="0"/>
              <a:t> </a:t>
            </a:r>
            <a:r>
              <a:rPr lang="pt-BR" dirty="0" err="1"/>
              <a:t>Analysis</a:t>
            </a:r>
            <a:endParaRPr lang="pt-BR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CB97D214-BDD3-41C8-9CBB-895ECFCB3ADB}"/>
              </a:ext>
            </a:extLst>
          </p:cNvPr>
          <p:cNvSpPr txBox="1"/>
          <p:nvPr/>
        </p:nvSpPr>
        <p:spPr>
          <a:xfrm>
            <a:off x="4514396" y="4626132"/>
            <a:ext cx="3325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nálise direta – Maior Frequência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2B9CFBA5-327F-48C7-A67A-CB271BB36847}"/>
              </a:ext>
            </a:extLst>
          </p:cNvPr>
          <p:cNvSpPr txBox="1"/>
          <p:nvPr/>
        </p:nvSpPr>
        <p:spPr>
          <a:xfrm>
            <a:off x="5134905" y="6209972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Análise Sazonal</a:t>
            </a:r>
          </a:p>
        </p:txBody>
      </p:sp>
      <p:pic>
        <p:nvPicPr>
          <p:cNvPr id="18" name="Imagem 17" descr="Ícone&#10;&#10;Descrição gerada automaticamente">
            <a:extLst>
              <a:ext uri="{FF2B5EF4-FFF2-40B4-BE49-F238E27FC236}">
                <a16:creationId xmlns:a16="http://schemas.microsoft.com/office/drawing/2014/main" id="{7D5B5ECF-F486-4A6D-91C3-9529916C57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36833" y="3064994"/>
            <a:ext cx="1637995" cy="1637995"/>
          </a:xfrm>
          <a:prstGeom prst="rect">
            <a:avLst/>
          </a:prstGeom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BC529063-043D-4B0B-92B5-B8A51271AFBB}"/>
              </a:ext>
            </a:extLst>
          </p:cNvPr>
          <p:cNvSpPr txBox="1"/>
          <p:nvPr/>
        </p:nvSpPr>
        <p:spPr>
          <a:xfrm>
            <a:off x="9334555" y="4750209"/>
            <a:ext cx="2095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ecomendação Final</a:t>
            </a:r>
          </a:p>
        </p:txBody>
      </p:sp>
      <p:cxnSp>
        <p:nvCxnSpPr>
          <p:cNvPr id="21" name="Conector de Seta Reta 20">
            <a:extLst>
              <a:ext uri="{FF2B5EF4-FFF2-40B4-BE49-F238E27FC236}">
                <a16:creationId xmlns:a16="http://schemas.microsoft.com/office/drawing/2014/main" id="{85B92641-43A8-4D44-AC59-0FE17C94B77F}"/>
              </a:ext>
            </a:extLst>
          </p:cNvPr>
          <p:cNvCxnSpPr>
            <a:cxnSpLocks/>
          </p:cNvCxnSpPr>
          <p:nvPr/>
        </p:nvCxnSpPr>
        <p:spPr>
          <a:xfrm flipV="1">
            <a:off x="3067758" y="2320553"/>
            <a:ext cx="1666167" cy="68467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Conector de Seta Reta 23">
            <a:extLst>
              <a:ext uri="{FF2B5EF4-FFF2-40B4-BE49-F238E27FC236}">
                <a16:creationId xmlns:a16="http://schemas.microsoft.com/office/drawing/2014/main" id="{8295610B-1A26-4CAF-9BAE-654C1505CD40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3067758" y="4024400"/>
            <a:ext cx="1551867" cy="580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Conector de Seta Reta 28">
            <a:extLst>
              <a:ext uri="{FF2B5EF4-FFF2-40B4-BE49-F238E27FC236}">
                <a16:creationId xmlns:a16="http://schemas.microsoft.com/office/drawing/2014/main" id="{2DCD09CD-A87A-43C0-87CF-B7BB6DD0BF9C}"/>
              </a:ext>
            </a:extLst>
          </p:cNvPr>
          <p:cNvCxnSpPr>
            <a:cxnSpLocks/>
          </p:cNvCxnSpPr>
          <p:nvPr/>
        </p:nvCxnSpPr>
        <p:spPr>
          <a:xfrm>
            <a:off x="3067758" y="5055183"/>
            <a:ext cx="1304217" cy="51226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" name="Conector de Seta Reta 30">
            <a:extLst>
              <a:ext uri="{FF2B5EF4-FFF2-40B4-BE49-F238E27FC236}">
                <a16:creationId xmlns:a16="http://schemas.microsoft.com/office/drawing/2014/main" id="{1F162015-1C39-40ED-B392-7B2EB8C7451A}"/>
              </a:ext>
            </a:extLst>
          </p:cNvPr>
          <p:cNvCxnSpPr>
            <a:cxnSpLocks/>
          </p:cNvCxnSpPr>
          <p:nvPr/>
        </p:nvCxnSpPr>
        <p:spPr>
          <a:xfrm>
            <a:off x="7180153" y="2320553"/>
            <a:ext cx="2030522" cy="74444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3" name="Conector de Seta Reta 32">
            <a:extLst>
              <a:ext uri="{FF2B5EF4-FFF2-40B4-BE49-F238E27FC236}">
                <a16:creationId xmlns:a16="http://schemas.microsoft.com/office/drawing/2014/main" id="{D70C4CE8-D50B-4904-A84E-4B0DAA041F81}"/>
              </a:ext>
            </a:extLst>
          </p:cNvPr>
          <p:cNvCxnSpPr>
            <a:cxnSpLocks/>
          </p:cNvCxnSpPr>
          <p:nvPr/>
        </p:nvCxnSpPr>
        <p:spPr>
          <a:xfrm flipV="1">
            <a:off x="7219127" y="4018596"/>
            <a:ext cx="1882316" cy="580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5" name="Conector de Seta Reta 34">
            <a:extLst>
              <a:ext uri="{FF2B5EF4-FFF2-40B4-BE49-F238E27FC236}">
                <a16:creationId xmlns:a16="http://schemas.microsoft.com/office/drawing/2014/main" id="{FFB28D0C-1321-4283-A33C-A151826319AD}"/>
              </a:ext>
            </a:extLst>
          </p:cNvPr>
          <p:cNvCxnSpPr>
            <a:cxnSpLocks/>
          </p:cNvCxnSpPr>
          <p:nvPr/>
        </p:nvCxnSpPr>
        <p:spPr>
          <a:xfrm flipV="1">
            <a:off x="7179774" y="5119541"/>
            <a:ext cx="1921669" cy="90646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2869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8C9293A-8542-413F-AC33-8242AFC866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96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7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E6730C1-860F-4888-8818-22A2BDA4E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7956" y="457200"/>
            <a:ext cx="3287730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VISUALIZAÇÃO DA SOLUÇÃO – Modulo recomendação </a:t>
            </a:r>
            <a:r>
              <a:rPr lang="pt-BR" sz="2000" dirty="0" err="1">
                <a:solidFill>
                  <a:schemeClr val="accent1"/>
                </a:solidFill>
              </a:rPr>
              <a:t>apriori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4" name="Imagem 3" descr="Tabela&#10;&#10;Descrição gerada automaticamente">
            <a:extLst>
              <a:ext uri="{FF2B5EF4-FFF2-40B4-BE49-F238E27FC236}">
                <a16:creationId xmlns:a16="http://schemas.microsoft.com/office/drawing/2014/main" id="{B0CCBCCB-FF01-4367-B32E-A386DB7420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652" y="2196330"/>
            <a:ext cx="6563285" cy="3013845"/>
          </a:xfrm>
          <a:prstGeom prst="rect">
            <a:avLst/>
          </a:prstGeom>
        </p:spPr>
      </p:pic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2D0C7283-7098-4441-96F1-66B466EBD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32355" y="1694359"/>
            <a:ext cx="3475953" cy="208472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>
                <a:solidFill>
                  <a:schemeClr val="bg1"/>
                </a:solidFill>
              </a:rPr>
              <a:t>Sistema de </a:t>
            </a:r>
            <a:r>
              <a:rPr lang="en-US" sz="1800" dirty="0" err="1">
                <a:solidFill>
                  <a:schemeClr val="bg1"/>
                </a:solidFill>
              </a:rPr>
              <a:t>recomendaçã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apriori</a:t>
            </a:r>
            <a:r>
              <a:rPr lang="en-US" sz="1800" dirty="0">
                <a:solidFill>
                  <a:schemeClr val="bg1"/>
                </a:solidFill>
              </a:rPr>
              <a:t> é </a:t>
            </a:r>
            <a:r>
              <a:rPr lang="en-US" sz="1800" dirty="0" err="1">
                <a:solidFill>
                  <a:schemeClr val="bg1"/>
                </a:solidFill>
              </a:rPr>
              <a:t>basead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na</a:t>
            </a:r>
            <a:r>
              <a:rPr lang="en-US" sz="1800" dirty="0">
                <a:solidFill>
                  <a:schemeClr val="bg1"/>
                </a:solidFill>
              </a:rPr>
              <a:t> cesta de </a:t>
            </a:r>
            <a:r>
              <a:rPr lang="en-US" sz="1800" dirty="0" err="1">
                <a:solidFill>
                  <a:schemeClr val="bg1"/>
                </a:solidFill>
              </a:rPr>
              <a:t>compras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usuário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Bees, por </a:t>
            </a:r>
            <a:r>
              <a:rPr lang="en-US" sz="1800" dirty="0" err="1">
                <a:solidFill>
                  <a:schemeClr val="bg1"/>
                </a:solidFill>
              </a:rPr>
              <a:t>lógica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roposicional</a:t>
            </a:r>
            <a:r>
              <a:rPr lang="en-US" sz="1800" dirty="0">
                <a:solidFill>
                  <a:schemeClr val="bg1"/>
                </a:solidFill>
              </a:rPr>
              <a:t> o </a:t>
            </a:r>
            <a:r>
              <a:rPr lang="en-US" sz="1800" dirty="0" err="1">
                <a:solidFill>
                  <a:schemeClr val="bg1"/>
                </a:solidFill>
              </a:rPr>
              <a:t>produto</a:t>
            </a:r>
            <a:r>
              <a:rPr lang="en-US" sz="1800" dirty="0">
                <a:solidFill>
                  <a:schemeClr val="bg1"/>
                </a:solidFill>
              </a:rPr>
              <a:t> ideal (</a:t>
            </a:r>
            <a:r>
              <a:rPr lang="en-US" sz="1800" dirty="0" err="1">
                <a:solidFill>
                  <a:schemeClr val="bg1"/>
                </a:solidFill>
              </a:rPr>
              <a:t>quem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comprou</a:t>
            </a:r>
            <a:r>
              <a:rPr lang="en-US" sz="1800" dirty="0">
                <a:solidFill>
                  <a:schemeClr val="bg1"/>
                </a:solidFill>
              </a:rPr>
              <a:t> X, </a:t>
            </a:r>
            <a:r>
              <a:rPr lang="en-US" sz="1800" dirty="0" err="1">
                <a:solidFill>
                  <a:schemeClr val="bg1"/>
                </a:solidFill>
              </a:rPr>
              <a:t>levou</a:t>
            </a:r>
            <a:r>
              <a:rPr lang="en-US" sz="1800" dirty="0">
                <a:solidFill>
                  <a:schemeClr val="bg1"/>
                </a:solidFill>
              </a:rPr>
              <a:t> Y)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362DC0D-AF4C-4319-A819-DF1CF52F930B}"/>
              </a:ext>
            </a:extLst>
          </p:cNvPr>
          <p:cNvSpPr txBox="1"/>
          <p:nvPr/>
        </p:nvSpPr>
        <p:spPr>
          <a:xfrm>
            <a:off x="631652" y="1826998"/>
            <a:ext cx="3334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Quem comprou X =&gt; comprou Y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D35CB44F-C27F-40C5-8D5D-4A88D09290FE}"/>
              </a:ext>
            </a:extLst>
          </p:cNvPr>
          <p:cNvSpPr/>
          <p:nvPr/>
        </p:nvSpPr>
        <p:spPr>
          <a:xfrm>
            <a:off x="6259286" y="2196330"/>
            <a:ext cx="935651" cy="1352413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21B6FBD5-DF21-4AAC-918D-9DCA4F9571E8}"/>
              </a:ext>
            </a:extLst>
          </p:cNvPr>
          <p:cNvCxnSpPr>
            <a:cxnSpLocks/>
          </p:cNvCxnSpPr>
          <p:nvPr/>
        </p:nvCxnSpPr>
        <p:spPr>
          <a:xfrm flipH="1" flipV="1">
            <a:off x="6292463" y="1647825"/>
            <a:ext cx="282508" cy="5485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ângulo 9">
            <a:extLst>
              <a:ext uri="{FF2B5EF4-FFF2-40B4-BE49-F238E27FC236}">
                <a16:creationId xmlns:a16="http://schemas.microsoft.com/office/drawing/2014/main" id="{E6E22BC3-2EED-4AB5-879A-358B72D3322D}"/>
              </a:ext>
            </a:extLst>
          </p:cNvPr>
          <p:cNvSpPr/>
          <p:nvPr/>
        </p:nvSpPr>
        <p:spPr>
          <a:xfrm>
            <a:off x="5096934" y="381001"/>
            <a:ext cx="2204660" cy="11788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 err="1">
                <a:solidFill>
                  <a:schemeClr val="tx1"/>
                </a:solidFill>
              </a:rPr>
              <a:t>Lift</a:t>
            </a:r>
            <a:r>
              <a:rPr lang="pt-BR" sz="1100" dirty="0">
                <a:solidFill>
                  <a:schemeClr val="tx1"/>
                </a:solidFill>
              </a:rPr>
              <a:t> maior que 1 permite saber o grau em que essas duas ocorrências são dependentes e torna essas regras potencialmente úteis para prever o consequente em conjuntos de dados futuros.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3FAC2B92-5B56-4695-893C-BAA6A521F837}"/>
              </a:ext>
            </a:extLst>
          </p:cNvPr>
          <p:cNvSpPr txBox="1"/>
          <p:nvPr/>
        </p:nvSpPr>
        <p:spPr>
          <a:xfrm>
            <a:off x="1486429" y="2229671"/>
            <a:ext cx="57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(X)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C403CA58-A1AC-4B60-A09D-D3740A6C85F5}"/>
              </a:ext>
            </a:extLst>
          </p:cNvPr>
          <p:cNvSpPr txBox="1"/>
          <p:nvPr/>
        </p:nvSpPr>
        <p:spPr>
          <a:xfrm>
            <a:off x="2800880" y="2235252"/>
            <a:ext cx="57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(Y)</a:t>
            </a:r>
          </a:p>
        </p:txBody>
      </p:sp>
    </p:spTree>
    <p:extLst>
      <p:ext uri="{BB962C8B-B14F-4D97-AF65-F5344CB8AC3E}">
        <p14:creationId xmlns:p14="http://schemas.microsoft.com/office/powerpoint/2010/main" val="8660137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E313DD3-4523-4DC2-BE61-BD810952FB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88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7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E6730C1-860F-4888-8818-22A2BDA4E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9328" y="457200"/>
            <a:ext cx="3090672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VISUALIZAÇÃO DA SOLUÇÃO – Modulo recomendação </a:t>
            </a:r>
            <a:r>
              <a:rPr lang="pt-BR" sz="2000" dirty="0" err="1">
                <a:solidFill>
                  <a:schemeClr val="accent1"/>
                </a:solidFill>
              </a:rPr>
              <a:t>dIRETA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4" name="Imagem 3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D3506E96-5AE6-448F-9082-D04A7D198A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3828" y="1327044"/>
            <a:ext cx="4040112" cy="5260391"/>
          </a:xfrm>
          <a:prstGeom prst="rect">
            <a:avLst/>
          </a:prstGeom>
        </p:spPr>
      </p:pic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2D0C7283-7098-4441-96F1-66B466EBD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69631" y="1841451"/>
            <a:ext cx="3630065" cy="1797376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Sistema de </a:t>
            </a:r>
            <a:r>
              <a:rPr lang="en-US" sz="1800" dirty="0" err="1">
                <a:solidFill>
                  <a:schemeClr val="bg1"/>
                </a:solidFill>
              </a:rPr>
              <a:t>recomendaçã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direta</a:t>
            </a:r>
            <a:r>
              <a:rPr lang="en-US" sz="1800" dirty="0">
                <a:solidFill>
                  <a:schemeClr val="bg1"/>
                </a:solidFill>
              </a:rPr>
              <a:t> é </a:t>
            </a:r>
            <a:r>
              <a:rPr lang="en-US" sz="1800" dirty="0" err="1">
                <a:solidFill>
                  <a:schemeClr val="bg1"/>
                </a:solidFill>
              </a:rPr>
              <a:t>basead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no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roduto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mai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consumidos</a:t>
            </a:r>
            <a:r>
              <a:rPr lang="en-US" sz="1800" dirty="0">
                <a:solidFill>
                  <a:schemeClr val="bg1"/>
                </a:solidFill>
              </a:rPr>
              <a:t> no </a:t>
            </a:r>
            <a:r>
              <a:rPr lang="en-US" sz="1800" dirty="0" err="1">
                <a:solidFill>
                  <a:schemeClr val="bg1"/>
                </a:solidFill>
              </a:rPr>
              <a:t>geral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el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usuário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Bees</a:t>
            </a:r>
          </a:p>
          <a:p>
            <a:endParaRPr lang="en-US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4138CDF3-520F-4593-918E-231ABD873313}"/>
              </a:ext>
            </a:extLst>
          </p:cNvPr>
          <p:cNvSpPr txBox="1">
            <a:spLocks/>
          </p:cNvSpPr>
          <p:nvPr/>
        </p:nvSpPr>
        <p:spPr>
          <a:xfrm>
            <a:off x="417177" y="232341"/>
            <a:ext cx="10178322" cy="8241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/>
              <a:t>TOP 10 ITENS VENDIDOS</a:t>
            </a: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0B46935E-2BD5-4DB0-89B8-8D7DA33870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912401"/>
              </p:ext>
            </p:extLst>
          </p:nvPr>
        </p:nvGraphicFramePr>
        <p:xfrm>
          <a:off x="8773719" y="3957239"/>
          <a:ext cx="2385693" cy="1797376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130136">
                  <a:extLst>
                    <a:ext uri="{9D8B030D-6E8A-4147-A177-3AD203B41FA5}">
                      <a16:colId xmlns:a16="http://schemas.microsoft.com/office/drawing/2014/main" val="362080204"/>
                    </a:ext>
                  </a:extLst>
                </a:gridCol>
                <a:gridCol w="1255557">
                  <a:extLst>
                    <a:ext uri="{9D8B030D-6E8A-4147-A177-3AD203B41FA5}">
                      <a16:colId xmlns:a16="http://schemas.microsoft.com/office/drawing/2014/main" val="3608012051"/>
                    </a:ext>
                  </a:extLst>
                </a:gridCol>
              </a:tblGrid>
              <a:tr h="44934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ódigo Cerveja</a:t>
                      </a:r>
                      <a:endParaRPr lang="pt-B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arca</a:t>
                      </a:r>
                      <a:endParaRPr lang="pt-B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6519947"/>
                  </a:ext>
                </a:extLst>
              </a:tr>
              <a:tr h="44934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0946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effe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Blond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7053390"/>
                  </a:ext>
                </a:extLst>
              </a:tr>
              <a:tr h="44934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61629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Kwak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55453947"/>
                  </a:ext>
                </a:extLst>
              </a:tr>
              <a:tr h="449344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66989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riple Karmeliet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61561824"/>
                  </a:ext>
                </a:extLst>
              </a:tr>
            </a:tbl>
          </a:graphicData>
        </a:graphic>
      </p:graphicFrame>
      <p:sp>
        <p:nvSpPr>
          <p:cNvPr id="6" name="CaixaDeTexto 5">
            <a:extLst>
              <a:ext uri="{FF2B5EF4-FFF2-40B4-BE49-F238E27FC236}">
                <a16:creationId xmlns:a16="http://schemas.microsoft.com/office/drawing/2014/main" id="{22DE1F02-17A9-4D2C-A61E-FD9FAA8F8EB9}"/>
              </a:ext>
            </a:extLst>
          </p:cNvPr>
          <p:cNvSpPr txBox="1"/>
          <p:nvPr/>
        </p:nvSpPr>
        <p:spPr>
          <a:xfrm>
            <a:off x="8591082" y="5797412"/>
            <a:ext cx="30631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*Na base de dados não aparecem todas</a:t>
            </a:r>
          </a:p>
          <a:p>
            <a:r>
              <a:rPr lang="pt-BR" sz="14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marcas com seus respectivos códigos</a:t>
            </a:r>
          </a:p>
        </p:txBody>
      </p:sp>
    </p:spTree>
    <p:extLst>
      <p:ext uri="{BB962C8B-B14F-4D97-AF65-F5344CB8AC3E}">
        <p14:creationId xmlns:p14="http://schemas.microsoft.com/office/powerpoint/2010/main" val="41354948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8882132-7D41-4BF0-98B1-D38CA92E00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144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9" name="Rectangle 31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0" name="Rectangle 33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1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E6730C1-860F-4888-8818-22A2BDA4E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9328" y="457200"/>
            <a:ext cx="3090672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VISUALIZAÇÃO DA SOLUÇÃO – Modulo recomendação </a:t>
            </a:r>
            <a:r>
              <a:rPr lang="pt-BR" sz="2000" dirty="0" err="1">
                <a:solidFill>
                  <a:schemeClr val="accent1"/>
                </a:solidFill>
              </a:rPr>
              <a:t>dIRETA</a:t>
            </a:r>
            <a:endParaRPr lang="pt-BR" sz="2000" dirty="0">
              <a:solidFill>
                <a:schemeClr val="accent1"/>
              </a:solidFill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E27D6A8-90E2-4E30-802D-4128D6719A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032" y="1323974"/>
            <a:ext cx="6562300" cy="4714875"/>
          </a:xfrm>
          <a:prstGeom prst="rect">
            <a:avLst/>
          </a:prstGeom>
        </p:spPr>
      </p:pic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2D0C7283-7098-4441-96F1-66B466EBDB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39328" y="1655065"/>
            <a:ext cx="3090672" cy="1653214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Sistema de </a:t>
            </a:r>
            <a:r>
              <a:rPr lang="en-US" sz="1800" dirty="0" err="1">
                <a:solidFill>
                  <a:schemeClr val="bg1"/>
                </a:solidFill>
              </a:rPr>
              <a:t>recomendaçã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direta</a:t>
            </a:r>
            <a:r>
              <a:rPr lang="en-US" sz="1800" dirty="0">
                <a:solidFill>
                  <a:schemeClr val="bg1"/>
                </a:solidFill>
              </a:rPr>
              <a:t> é </a:t>
            </a:r>
            <a:r>
              <a:rPr lang="en-US" sz="1800" dirty="0" err="1">
                <a:solidFill>
                  <a:schemeClr val="bg1"/>
                </a:solidFill>
              </a:rPr>
              <a:t>basead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no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roduto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mais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consumidos</a:t>
            </a:r>
            <a:r>
              <a:rPr lang="en-US" sz="1800" dirty="0">
                <a:solidFill>
                  <a:schemeClr val="bg1"/>
                </a:solidFill>
              </a:rPr>
              <a:t> no </a:t>
            </a:r>
            <a:r>
              <a:rPr lang="en-US" sz="1800" dirty="0" err="1">
                <a:solidFill>
                  <a:schemeClr val="bg1"/>
                </a:solidFill>
              </a:rPr>
              <a:t>geral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elo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usuário</a:t>
            </a:r>
            <a:r>
              <a:rPr lang="en-US" sz="1800" dirty="0">
                <a:solidFill>
                  <a:schemeClr val="bg1"/>
                </a:solidFill>
              </a:rPr>
              <a:t> do </a:t>
            </a:r>
            <a:r>
              <a:rPr lang="en-US" sz="1800" dirty="0" err="1">
                <a:solidFill>
                  <a:schemeClr val="bg1"/>
                </a:solidFill>
              </a:rPr>
              <a:t>aplicativo</a:t>
            </a:r>
            <a:r>
              <a:rPr lang="en-US" sz="1800" dirty="0">
                <a:solidFill>
                  <a:schemeClr val="bg1"/>
                </a:solidFill>
              </a:rPr>
              <a:t> Bees</a:t>
            </a:r>
          </a:p>
          <a:p>
            <a:endParaRPr lang="en-US" sz="1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bg1"/>
              </a:solidFill>
            </a:endParaRP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4E802F5B-B074-464D-A130-40E8BD9DBE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6625083"/>
              </p:ext>
            </p:extLst>
          </p:nvPr>
        </p:nvGraphicFramePr>
        <p:xfrm>
          <a:off x="8344060" y="3552288"/>
          <a:ext cx="3256908" cy="223468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465609">
                  <a:extLst>
                    <a:ext uri="{9D8B030D-6E8A-4147-A177-3AD203B41FA5}">
                      <a16:colId xmlns:a16="http://schemas.microsoft.com/office/drawing/2014/main" val="505491511"/>
                    </a:ext>
                  </a:extLst>
                </a:gridCol>
                <a:gridCol w="1791299">
                  <a:extLst>
                    <a:ext uri="{9D8B030D-6E8A-4147-A177-3AD203B41FA5}">
                      <a16:colId xmlns:a16="http://schemas.microsoft.com/office/drawing/2014/main" val="2846943922"/>
                    </a:ext>
                  </a:extLst>
                </a:gridCol>
              </a:tblGrid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ódigo Cerveja</a:t>
                      </a:r>
                      <a:endParaRPr lang="pt-B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arca</a:t>
                      </a:r>
                      <a:endParaRPr lang="pt-BR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66123593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0946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effe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Blond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45313670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61629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Kwak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34024541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66989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riple Karmeliet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657339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20614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effe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Ruby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9901754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10947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Hoegardeen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Whit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02273573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48537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effe</a:t>
                      </a:r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Royal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9717316"/>
                  </a:ext>
                </a:extLst>
              </a:tr>
              <a:tr h="27933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>
                          <a:solidFill>
                            <a:schemeClr val="bg1"/>
                          </a:solidFill>
                          <a:effectLst/>
                        </a:rPr>
                        <a:t>70601</a:t>
                      </a:r>
                      <a:endParaRPr lang="pt-BR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Goose</a:t>
                      </a:r>
                      <a:endParaRPr lang="pt-BR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13288428"/>
                  </a:ext>
                </a:extLst>
              </a:tr>
            </a:tbl>
          </a:graphicData>
        </a:graphic>
      </p:graphicFrame>
      <p:sp>
        <p:nvSpPr>
          <p:cNvPr id="11" name="CaixaDeTexto 10">
            <a:extLst>
              <a:ext uri="{FF2B5EF4-FFF2-40B4-BE49-F238E27FC236}">
                <a16:creationId xmlns:a16="http://schemas.microsoft.com/office/drawing/2014/main" id="{9362749C-0D8B-49E9-A7BB-0F7E478AF61C}"/>
              </a:ext>
            </a:extLst>
          </p:cNvPr>
          <p:cNvSpPr txBox="1"/>
          <p:nvPr/>
        </p:nvSpPr>
        <p:spPr>
          <a:xfrm>
            <a:off x="8427178" y="5846758"/>
            <a:ext cx="30906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*Na base de dados não aparecem todas</a:t>
            </a:r>
          </a:p>
          <a:p>
            <a:r>
              <a:rPr lang="pt-BR" sz="14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marcas com seus respectivos códigos</a:t>
            </a:r>
          </a:p>
        </p:txBody>
      </p:sp>
    </p:spTree>
    <p:extLst>
      <p:ext uri="{BB962C8B-B14F-4D97-AF65-F5344CB8AC3E}">
        <p14:creationId xmlns:p14="http://schemas.microsoft.com/office/powerpoint/2010/main" val="23440384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13663E6-0C38-4DF8-A642-D2DE40A4E2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13663E6-0C38-4DF8-A642-D2DE40A4E2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BDC8934-7F72-4D68-B662-B9CD3108F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9328" y="457200"/>
            <a:ext cx="3090672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Visualização da recomendação – Módulo Sazonal</a:t>
            </a:r>
            <a:br>
              <a:rPr lang="pt-BR" sz="2000" dirty="0">
                <a:solidFill>
                  <a:schemeClr val="accent1"/>
                </a:solidFill>
              </a:rPr>
            </a:br>
            <a:endParaRPr lang="pt-BR" sz="2000" dirty="0">
              <a:solidFill>
                <a:schemeClr val="accent1"/>
              </a:solidFill>
            </a:endParaRP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4B694B39-FC2B-41E3-A79A-06ABAB6224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2398" y="1840000"/>
            <a:ext cx="3564532" cy="3451191"/>
          </a:xfrm>
        </p:spPr>
        <p:txBody>
          <a:bodyPr>
            <a:norm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Sistema de </a:t>
            </a:r>
            <a:r>
              <a:rPr lang="en-US" sz="1600" dirty="0" err="1">
                <a:solidFill>
                  <a:schemeClr val="bg1"/>
                </a:solidFill>
              </a:rPr>
              <a:t>recomendaçã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sazonal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onsist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analisar</a:t>
            </a:r>
            <a:r>
              <a:rPr lang="en-US" sz="1600" dirty="0">
                <a:solidFill>
                  <a:schemeClr val="bg1"/>
                </a:solidFill>
              </a:rPr>
              <a:t> o </a:t>
            </a:r>
            <a:r>
              <a:rPr lang="en-US" sz="1600" dirty="0" err="1">
                <a:solidFill>
                  <a:schemeClr val="bg1"/>
                </a:solidFill>
              </a:rPr>
              <a:t>consumo</a:t>
            </a:r>
            <a:r>
              <a:rPr lang="en-US" sz="1600" dirty="0">
                <a:solidFill>
                  <a:schemeClr val="bg1"/>
                </a:solidFill>
              </a:rPr>
              <a:t> de </a:t>
            </a:r>
            <a:r>
              <a:rPr lang="en-US" sz="1600" dirty="0" err="1">
                <a:solidFill>
                  <a:schemeClr val="bg1"/>
                </a:solidFill>
              </a:rPr>
              <a:t>determinada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erveja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m</a:t>
            </a:r>
            <a:r>
              <a:rPr lang="en-US" sz="1600" dirty="0">
                <a:solidFill>
                  <a:schemeClr val="bg1"/>
                </a:solidFill>
              </a:rPr>
              <a:t> um </a:t>
            </a:r>
            <a:r>
              <a:rPr lang="en-US" sz="1600" dirty="0" err="1">
                <a:solidFill>
                  <a:schemeClr val="bg1"/>
                </a:solidFill>
              </a:rPr>
              <a:t>determinad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eríodo</a:t>
            </a:r>
            <a:r>
              <a:rPr lang="en-US" sz="1600" dirty="0">
                <a:solidFill>
                  <a:schemeClr val="bg1"/>
                </a:solidFill>
              </a:rPr>
              <a:t> para </a:t>
            </a:r>
            <a:r>
              <a:rPr lang="en-US" sz="1600" dirty="0" err="1">
                <a:solidFill>
                  <a:schemeClr val="bg1"/>
                </a:solidFill>
              </a:rPr>
              <a:t>sabermos</a:t>
            </a:r>
            <a:r>
              <a:rPr lang="en-US" sz="1600" dirty="0">
                <a:solidFill>
                  <a:schemeClr val="bg1"/>
                </a:solidFill>
              </a:rPr>
              <a:t> o </a:t>
            </a:r>
            <a:r>
              <a:rPr lang="en-US" sz="1600" dirty="0" err="1">
                <a:solidFill>
                  <a:schemeClr val="bg1"/>
                </a:solidFill>
              </a:rPr>
              <a:t>quant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fo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vendido</a:t>
            </a:r>
            <a:r>
              <a:rPr lang="en-US" sz="1600" dirty="0">
                <a:solidFill>
                  <a:schemeClr val="bg1"/>
                </a:solidFill>
              </a:rPr>
              <a:t> do </a:t>
            </a:r>
            <a:r>
              <a:rPr lang="en-US" sz="1600" dirty="0" err="1">
                <a:solidFill>
                  <a:schemeClr val="bg1"/>
                </a:solidFill>
              </a:rPr>
              <a:t>produt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m</a:t>
            </a:r>
            <a:r>
              <a:rPr lang="en-US" sz="1600" dirty="0">
                <a:solidFill>
                  <a:schemeClr val="bg1"/>
                </a:solidFill>
              </a:rPr>
              <a:t> um </a:t>
            </a:r>
            <a:r>
              <a:rPr lang="en-US" sz="1600" dirty="0" err="1">
                <a:solidFill>
                  <a:schemeClr val="bg1"/>
                </a:solidFill>
              </a:rPr>
              <a:t>determinad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eríodo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600" dirty="0" err="1">
                <a:solidFill>
                  <a:schemeClr val="bg1"/>
                </a:solidFill>
              </a:rPr>
              <a:t>conform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gráfico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DDFCD772-1933-4652-ADC4-FFEED0D2F2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763" y="1720965"/>
            <a:ext cx="6928601" cy="4640982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FB2E3FBF-465E-4A1A-AA1B-5A605CB8FBA1}"/>
              </a:ext>
            </a:extLst>
          </p:cNvPr>
          <p:cNvSpPr txBox="1"/>
          <p:nvPr/>
        </p:nvSpPr>
        <p:spPr>
          <a:xfrm>
            <a:off x="1492898" y="895739"/>
            <a:ext cx="5293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Predição de Volume de Vendas – Cerveja Budweiser</a:t>
            </a:r>
          </a:p>
        </p:txBody>
      </p:sp>
    </p:spTree>
    <p:extLst>
      <p:ext uri="{BB962C8B-B14F-4D97-AF65-F5344CB8AC3E}">
        <p14:creationId xmlns:p14="http://schemas.microsoft.com/office/powerpoint/2010/main" val="18663878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13663E6-0C38-4DF8-A642-D2DE40A4E2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351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2D6CE9D5-28BB-4329-B5E2-B06131F27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9F7D40-5D59-4F59-A331-D8F7710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E2B1BC2F-AEBF-4990-A7F9-197AAF28B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48664" y="0"/>
            <a:ext cx="4643336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BDC8934-7F72-4D68-B662-B9CD3108F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9328" y="457200"/>
            <a:ext cx="3090672" cy="1197864"/>
          </a:xfrm>
        </p:spPr>
        <p:txBody>
          <a:bodyPr vert="horz" anchor="b">
            <a:normAutofit/>
          </a:bodyPr>
          <a:lstStyle/>
          <a:p>
            <a:r>
              <a:rPr lang="pt-BR" sz="2000" dirty="0">
                <a:solidFill>
                  <a:schemeClr val="accent1"/>
                </a:solidFill>
              </a:rPr>
              <a:t>Esboço de tela – Visualização da recomendação</a:t>
            </a:r>
          </a:p>
        </p:txBody>
      </p:sp>
      <p:pic>
        <p:nvPicPr>
          <p:cNvPr id="5" name="Espaço Reservado para Conteúdo 4" descr="Interface gráfica do usuário&#10;&#10;Descrição gerada automaticamente">
            <a:extLst>
              <a:ext uri="{FF2B5EF4-FFF2-40B4-BE49-F238E27FC236}">
                <a16:creationId xmlns:a16="http://schemas.microsoft.com/office/drawing/2014/main" id="{648E438B-2EA3-4767-9354-B74B5CE6A5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140" y="114300"/>
            <a:ext cx="7195459" cy="6743700"/>
          </a:xfrm>
          <a:prstGeom prst="rect">
            <a:avLst/>
          </a:prstGeom>
        </p:spPr>
      </p:pic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4B694B39-FC2B-41E3-A79A-06ABAB6224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2398" y="1840000"/>
            <a:ext cx="3564532" cy="3451191"/>
          </a:xfrm>
        </p:spPr>
        <p:txBody>
          <a:bodyPr>
            <a:normAutofit/>
          </a:bodyPr>
          <a:lstStyle/>
          <a:p>
            <a:r>
              <a:rPr lang="en-US" sz="1600" dirty="0" err="1">
                <a:solidFill>
                  <a:schemeClr val="bg1"/>
                </a:solidFill>
              </a:rPr>
              <a:t>A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lica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m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organizar</a:t>
            </a:r>
            <a:r>
              <a:rPr lang="en-US" sz="1600" dirty="0">
                <a:solidFill>
                  <a:schemeClr val="bg1"/>
                </a:solidFill>
              </a:rPr>
              <a:t> por, </a:t>
            </a:r>
            <a:r>
              <a:rPr lang="en-US" sz="1600" dirty="0" err="1">
                <a:solidFill>
                  <a:schemeClr val="bg1"/>
                </a:solidFill>
              </a:rPr>
              <a:t>será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ossível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filtra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elo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roduto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mai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vendidos</a:t>
            </a:r>
            <a:r>
              <a:rPr lang="en-US" sz="1600" dirty="0">
                <a:solidFill>
                  <a:schemeClr val="bg1"/>
                </a:solidFill>
              </a:rPr>
              <a:t>, que </a:t>
            </a:r>
            <a:r>
              <a:rPr lang="en-US" sz="1600" dirty="0" err="1">
                <a:solidFill>
                  <a:schemeClr val="bg1"/>
                </a:solidFill>
              </a:rPr>
              <a:t>será</a:t>
            </a:r>
            <a:r>
              <a:rPr lang="en-US" sz="1600" dirty="0">
                <a:solidFill>
                  <a:schemeClr val="bg1"/>
                </a:solidFill>
              </a:rPr>
              <a:t> as </a:t>
            </a:r>
            <a:r>
              <a:rPr lang="en-US" sz="1600" dirty="0" err="1">
                <a:solidFill>
                  <a:schemeClr val="bg1"/>
                </a:solidFill>
              </a:rPr>
              <a:t>recomendaçõe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diretas</a:t>
            </a:r>
            <a:r>
              <a:rPr lang="en-US" sz="1600" dirty="0">
                <a:solidFill>
                  <a:schemeClr val="bg1"/>
                </a:solidFill>
              </a:rPr>
              <a:t> com 10 </a:t>
            </a:r>
            <a:r>
              <a:rPr lang="en-US" sz="1600" dirty="0" err="1">
                <a:solidFill>
                  <a:schemeClr val="bg1"/>
                </a:solidFill>
              </a:rPr>
              <a:t>produto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vendidos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err="1">
                <a:solidFill>
                  <a:schemeClr val="bg1"/>
                </a:solidFill>
              </a:rPr>
              <a:t>A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adicionar</a:t>
            </a:r>
            <a:r>
              <a:rPr lang="en-US" sz="1600" dirty="0">
                <a:solidFill>
                  <a:schemeClr val="bg1"/>
                </a:solidFill>
              </a:rPr>
              <a:t> um item no </a:t>
            </a:r>
            <a:r>
              <a:rPr lang="en-US" sz="1600" dirty="0" err="1">
                <a:solidFill>
                  <a:schemeClr val="bg1"/>
                </a:solidFill>
              </a:rPr>
              <a:t>carrinho</a:t>
            </a:r>
            <a:r>
              <a:rPr lang="en-US" sz="1600" dirty="0">
                <a:solidFill>
                  <a:schemeClr val="bg1"/>
                </a:solidFill>
              </a:rPr>
              <a:t>, a </a:t>
            </a:r>
            <a:r>
              <a:rPr lang="en-US" sz="1600" dirty="0" err="1">
                <a:solidFill>
                  <a:schemeClr val="bg1"/>
                </a:solidFill>
              </a:rPr>
              <a:t>página</a:t>
            </a:r>
            <a:r>
              <a:rPr lang="en-US" sz="1600" dirty="0">
                <a:solidFill>
                  <a:schemeClr val="bg1"/>
                </a:solidFill>
              </a:rPr>
              <a:t> se </a:t>
            </a:r>
            <a:r>
              <a:rPr lang="en-US" sz="1600" dirty="0" err="1">
                <a:solidFill>
                  <a:schemeClr val="bg1"/>
                </a:solidFill>
              </a:rPr>
              <a:t>expande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600" dirty="0" err="1">
                <a:solidFill>
                  <a:schemeClr val="bg1"/>
                </a:solidFill>
              </a:rPr>
              <a:t>recomendando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rodutos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onform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sazonalidade</a:t>
            </a:r>
            <a:r>
              <a:rPr lang="en-US" sz="1600" dirty="0">
                <a:solidFill>
                  <a:schemeClr val="bg1"/>
                </a:solidFill>
              </a:rPr>
              <a:t> e/</a:t>
            </a:r>
            <a:r>
              <a:rPr lang="en-US" sz="1600" dirty="0" err="1">
                <a:solidFill>
                  <a:schemeClr val="bg1"/>
                </a:solidFill>
              </a:rPr>
              <a:t>ou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conform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análise</a:t>
            </a:r>
            <a:r>
              <a:rPr lang="en-US" sz="1600" dirty="0">
                <a:solidFill>
                  <a:schemeClr val="bg1"/>
                </a:solidFill>
              </a:rPr>
              <a:t> do </a:t>
            </a:r>
            <a:r>
              <a:rPr lang="en-US" sz="1600" dirty="0" err="1">
                <a:solidFill>
                  <a:schemeClr val="bg1"/>
                </a:solidFill>
              </a:rPr>
              <a:t>carrinho</a:t>
            </a:r>
            <a:r>
              <a:rPr lang="en-US" sz="1600" dirty="0">
                <a:solidFill>
                  <a:schemeClr val="bg1"/>
                </a:solidFill>
              </a:rPr>
              <a:t> de </a:t>
            </a:r>
            <a:r>
              <a:rPr lang="en-US" sz="1600" dirty="0" err="1">
                <a:solidFill>
                  <a:schemeClr val="bg1"/>
                </a:solidFill>
              </a:rPr>
              <a:t>compras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3484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2424D-FAD6-46E9-BA2C-ED855A23E7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nibalizaçã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6A4D100-20B0-4421-9A5D-9122E028E8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8" y="1589103"/>
            <a:ext cx="10178322" cy="4290489"/>
          </a:xfrm>
        </p:spPr>
        <p:txBody>
          <a:bodyPr/>
          <a:lstStyle/>
          <a:p>
            <a:r>
              <a:rPr lang="pt-BR" dirty="0"/>
              <a:t>Explorando a base de dados, analisamos manualmente duas cervejas com características semelhantes, fizemos uns filtros para carregarmos os dados e tivemos a noção comparativa para análise de canibalização.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Por características semelhantes, utilizamos as seguintes cervejas como exemplo:</a:t>
            </a:r>
          </a:p>
          <a:p>
            <a:endParaRPr lang="pt-BR" dirty="0"/>
          </a:p>
          <a:p>
            <a:r>
              <a:rPr lang="pt-BR" dirty="0"/>
              <a:t>Budweiser x </a:t>
            </a:r>
            <a:r>
              <a:rPr lang="pt-BR" dirty="0" err="1"/>
              <a:t>Ginette</a:t>
            </a:r>
            <a:r>
              <a:rPr lang="pt-BR" dirty="0"/>
              <a:t> </a:t>
            </a:r>
            <a:r>
              <a:rPr lang="pt-BR" dirty="0" err="1"/>
              <a:t>Lager</a:t>
            </a:r>
            <a:r>
              <a:rPr lang="pt-BR" dirty="0"/>
              <a:t> 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D790C22-82EC-4C67-9F52-D814F8E403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437" b="92621" l="10000" r="90000">
                        <a14:foregroundMark x1="47838" y1="5437" x2="48784" y2="6796"/>
                        <a14:foregroundMark x1="44054" y1="84466" x2="48108" y2="92621"/>
                        <a14:foregroundMark x1="48108" y1="92621" x2="53649" y2="92233"/>
                      </a14:backgroundRemoval>
                    </a14:imgEffect>
                  </a14:imgLayer>
                </a14:imgProps>
              </a:ext>
            </a:extLst>
          </a:blip>
          <a:srcRect l="34293" t="238" r="34018" b="2973"/>
          <a:stretch/>
        </p:blipFill>
        <p:spPr>
          <a:xfrm>
            <a:off x="5131837" y="3828432"/>
            <a:ext cx="1376953" cy="2926927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98D2446A-BBA9-4530-BA06-49452EF7C2B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35" b="97826" l="10000" r="90000">
                        <a14:foregroundMark x1="45217" y1="4783" x2="46087" y2="435"/>
                        <a14:foregroundMark x1="40000" y1="82174" x2="43043" y2="96087"/>
                        <a14:foregroundMark x1="43043" y1="96087" x2="56522" y2="90870"/>
                        <a14:foregroundMark x1="56522" y1="90870" x2="60435" y2="82609"/>
                        <a14:foregroundMark x1="42174" y1="96087" x2="55217" y2="97826"/>
                        <a14:foregroundMark x1="55217" y1="97826" x2="55652" y2="96522"/>
                      </a14:backgroundRemoval>
                    </a14:imgEffect>
                  </a14:imgLayer>
                </a14:imgProps>
              </a:ext>
            </a:extLst>
          </a:blip>
          <a:srcRect l="28509" r="28391"/>
          <a:stretch/>
        </p:blipFill>
        <p:spPr>
          <a:xfrm>
            <a:off x="6843218" y="3905911"/>
            <a:ext cx="1176390" cy="272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257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4E3162-7B02-41E4-A838-8251B5187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nibalizaçã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58509EF-CBA8-4CAA-A66D-08CB251E0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8392" y="1632204"/>
            <a:ext cx="10504893" cy="3593591"/>
          </a:xfrm>
        </p:spPr>
        <p:txBody>
          <a:bodyPr>
            <a:normAutofit fontScale="92500" lnSpcReduction="10000"/>
          </a:bodyPr>
          <a:lstStyle/>
          <a:p>
            <a:r>
              <a:rPr lang="pt-BR" dirty="0"/>
              <a:t>Baseado em volume de Hectolitros entregue fizemos os seguintes cálculos:</a:t>
            </a:r>
          </a:p>
          <a:p>
            <a:endParaRPr lang="pt-BR" dirty="0"/>
          </a:p>
          <a:p>
            <a:r>
              <a:rPr lang="pt-BR" dirty="0"/>
              <a:t>Budweiser: </a:t>
            </a:r>
          </a:p>
          <a:p>
            <a:pPr marL="0" indent="0">
              <a:buNone/>
            </a:pPr>
            <a:r>
              <a:rPr lang="pt-BR" dirty="0"/>
              <a:t>    Produção em 2019 –  3839.02 hectolitros (valor simbólico para efeito de demonstração de cálculo*)</a:t>
            </a:r>
          </a:p>
          <a:p>
            <a:pPr marL="0" indent="0">
              <a:buNone/>
            </a:pPr>
            <a:r>
              <a:rPr lang="pt-BR" dirty="0"/>
              <a:t>    Produção em 2020 – 2839.02 hectolitros(segundo extração do banco de dados)</a:t>
            </a:r>
          </a:p>
          <a:p>
            <a:pPr marL="0" indent="0">
              <a:buNone/>
            </a:pPr>
            <a:endParaRPr lang="pt-BR" dirty="0"/>
          </a:p>
          <a:p>
            <a:r>
              <a:rPr lang="pt-BR" dirty="0" err="1"/>
              <a:t>Ginette</a:t>
            </a:r>
            <a:r>
              <a:rPr lang="pt-BR" dirty="0"/>
              <a:t> </a:t>
            </a:r>
            <a:r>
              <a:rPr lang="pt-BR" dirty="0" err="1"/>
              <a:t>Lager</a:t>
            </a:r>
            <a:r>
              <a:rPr lang="pt-BR" dirty="0"/>
              <a:t>:</a:t>
            </a:r>
          </a:p>
          <a:p>
            <a:pPr marL="0" indent="0">
              <a:buNone/>
            </a:pPr>
            <a:r>
              <a:rPr lang="pt-BR" dirty="0"/>
              <a:t>    Produção em 2019 – nenhum arquivo no </a:t>
            </a:r>
            <a:r>
              <a:rPr lang="pt-BR" dirty="0" err="1"/>
              <a:t>dataset</a:t>
            </a:r>
            <a:r>
              <a:rPr lang="pt-BR" dirty="0"/>
              <a:t> </a:t>
            </a:r>
          </a:p>
          <a:p>
            <a:pPr marL="0" indent="0">
              <a:buNone/>
            </a:pPr>
            <a:r>
              <a:rPr lang="pt-BR" dirty="0"/>
              <a:t>    Produção em 2020 – 438.24 hectolitros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E32DA85-C29C-4188-9CBA-F2E62E58D2F9}"/>
              </a:ext>
            </a:extLst>
          </p:cNvPr>
          <p:cNvSpPr txBox="1"/>
          <p:nvPr/>
        </p:nvSpPr>
        <p:spPr>
          <a:xfrm>
            <a:off x="7648770" y="6473279"/>
            <a:ext cx="4331736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*base não estava completa com os dados</a:t>
            </a:r>
          </a:p>
        </p:txBody>
      </p:sp>
    </p:spTree>
    <p:extLst>
      <p:ext uri="{BB962C8B-B14F-4D97-AF65-F5344CB8AC3E}">
        <p14:creationId xmlns:p14="http://schemas.microsoft.com/office/powerpoint/2010/main" val="7765198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3FF6C48-3C22-4EDB-A79C-7A0191C3E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nibalização - cálculos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2BD4F72-16F0-4E20-A51E-ADCCCCDB4B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8" y="1530221"/>
            <a:ext cx="10178322" cy="359359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pt-BR" dirty="0"/>
              <a:t>Cálculos:</a:t>
            </a:r>
          </a:p>
          <a:p>
            <a:pPr marL="0" indent="0">
              <a:buNone/>
            </a:pPr>
            <a:r>
              <a:rPr lang="pt-BR" dirty="0"/>
              <a:t>Budweiser(2019) - Budweiser(2020) = 1000 hectolitros   =&gt; Fator Canibalização</a:t>
            </a:r>
          </a:p>
          <a:p>
            <a:pPr marL="0" indent="0">
              <a:buNone/>
            </a:pPr>
            <a:r>
              <a:rPr lang="pt-BR" dirty="0"/>
              <a:t>Budweiser(2020) + </a:t>
            </a:r>
            <a:r>
              <a:rPr lang="pt-BR" dirty="0" err="1"/>
              <a:t>Ginette</a:t>
            </a:r>
            <a:r>
              <a:rPr lang="pt-BR" dirty="0"/>
              <a:t> </a:t>
            </a:r>
            <a:r>
              <a:rPr lang="pt-BR" dirty="0" err="1"/>
              <a:t>Lager</a:t>
            </a:r>
            <a:r>
              <a:rPr lang="pt-BR" dirty="0"/>
              <a:t>(2020) = 3277,26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Produção em 2019 Budweiser –  3839.02 hectolitros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Neste caso em específico, a inserção da </a:t>
            </a:r>
            <a:r>
              <a:rPr lang="pt-BR" dirty="0" err="1"/>
              <a:t>Ginette</a:t>
            </a:r>
            <a:r>
              <a:rPr lang="pt-BR" dirty="0"/>
              <a:t> </a:t>
            </a:r>
            <a:r>
              <a:rPr lang="pt-BR" dirty="0" err="1"/>
              <a:t>Lager</a:t>
            </a:r>
            <a:r>
              <a:rPr lang="pt-BR" dirty="0"/>
              <a:t> interferiu no mercado da Budweiser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Premissa: Mesmo valor de produção </a:t>
            </a:r>
          </a:p>
          <a:p>
            <a:pPr marL="0" indent="0">
              <a:buNone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397503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80EBDC-A6C2-4A4B-B9EE-1B381DBFF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922540"/>
          </a:xfrm>
        </p:spPr>
        <p:txBody>
          <a:bodyPr/>
          <a:lstStyle/>
          <a:p>
            <a:r>
              <a:rPr lang="pt-BR" dirty="0"/>
              <a:t>Trabalhos futuros</a:t>
            </a:r>
          </a:p>
        </p:txBody>
      </p:sp>
      <p:pic>
        <p:nvPicPr>
          <p:cNvPr id="32" name="Espaço Reservado para Conteúdo 31" descr="Ícone&#10;&#10;Descrição gerada automaticamente">
            <a:extLst>
              <a:ext uri="{FF2B5EF4-FFF2-40B4-BE49-F238E27FC236}">
                <a16:creationId xmlns:a16="http://schemas.microsoft.com/office/drawing/2014/main" id="{F9F3A50E-1013-4D56-8B43-E5E7B2F52E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68356" y="1473460"/>
            <a:ext cx="984924" cy="984924"/>
          </a:xfrm>
        </p:spPr>
      </p:pic>
      <p:pic>
        <p:nvPicPr>
          <p:cNvPr id="4" name="Espaço Reservado para Conteúdo 6" descr="Imagem de desenho animado&#10;&#10;Descrição gerada automaticamente com confiança média">
            <a:extLst>
              <a:ext uri="{FF2B5EF4-FFF2-40B4-BE49-F238E27FC236}">
                <a16:creationId xmlns:a16="http://schemas.microsoft.com/office/drawing/2014/main" id="{14824A41-375D-47FC-A1CD-4ECC5D34D5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369" y="2756343"/>
            <a:ext cx="1806419" cy="2198763"/>
          </a:xfrm>
          <a:prstGeom prst="rect">
            <a:avLst/>
          </a:prstGeom>
        </p:spPr>
      </p:pic>
      <p:pic>
        <p:nvPicPr>
          <p:cNvPr id="11" name="Imagem 10" descr="Ícone&#10;&#10;Descrição gerada automaticamente">
            <a:extLst>
              <a:ext uri="{FF2B5EF4-FFF2-40B4-BE49-F238E27FC236}">
                <a16:creationId xmlns:a16="http://schemas.microsoft.com/office/drawing/2014/main" id="{8833175C-B54A-4DC3-8A61-1D594BFA8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2180" y="2303033"/>
            <a:ext cx="1466209" cy="1466209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F32B1F4E-0B9B-472F-8F82-66C34A86E571}"/>
              </a:ext>
            </a:extLst>
          </p:cNvPr>
          <p:cNvSpPr txBox="1"/>
          <p:nvPr/>
        </p:nvSpPr>
        <p:spPr>
          <a:xfrm>
            <a:off x="9438748" y="3990517"/>
            <a:ext cx="2138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Recomendação Final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99C99500-8D25-4E93-9E00-55D3E55C147F}"/>
              </a:ext>
            </a:extLst>
          </p:cNvPr>
          <p:cNvSpPr txBox="1"/>
          <p:nvPr/>
        </p:nvSpPr>
        <p:spPr>
          <a:xfrm>
            <a:off x="4623834" y="2489084"/>
            <a:ext cx="24865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    </a:t>
            </a:r>
            <a:r>
              <a:rPr lang="pt-BR" sz="1400" dirty="0"/>
              <a:t>Recomendação Empurrada</a:t>
            </a:r>
          </a:p>
          <a:p>
            <a:r>
              <a:rPr lang="pt-BR" sz="1400" dirty="0"/>
              <a:t>   Baseado no Ciclo de Compra</a:t>
            </a:r>
          </a:p>
        </p:txBody>
      </p:sp>
      <p:pic>
        <p:nvPicPr>
          <p:cNvPr id="35" name="Imagem 34" descr="Ícone&#10;&#10;Descrição gerada automaticamente">
            <a:extLst>
              <a:ext uri="{FF2B5EF4-FFF2-40B4-BE49-F238E27FC236}">
                <a16:creationId xmlns:a16="http://schemas.microsoft.com/office/drawing/2014/main" id="{0FE79FEE-1A72-43E3-B2CB-A12E02D7B1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5309" y="3236113"/>
            <a:ext cx="1071017" cy="1066257"/>
          </a:xfrm>
          <a:prstGeom prst="rect">
            <a:avLst/>
          </a:prstGeom>
        </p:spPr>
      </p:pic>
      <p:sp>
        <p:nvSpPr>
          <p:cNvPr id="36" name="CaixaDeTexto 35">
            <a:extLst>
              <a:ext uri="{FF2B5EF4-FFF2-40B4-BE49-F238E27FC236}">
                <a16:creationId xmlns:a16="http://schemas.microsoft.com/office/drawing/2014/main" id="{54302B02-8787-4888-948C-E92D36AC74B1}"/>
              </a:ext>
            </a:extLst>
          </p:cNvPr>
          <p:cNvSpPr txBox="1"/>
          <p:nvPr/>
        </p:nvSpPr>
        <p:spPr>
          <a:xfrm>
            <a:off x="3961700" y="4258020"/>
            <a:ext cx="48690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       </a:t>
            </a:r>
            <a:r>
              <a:rPr lang="pt-BR" sz="1400" dirty="0"/>
              <a:t>Análise de Sentimento para verificar quais </a:t>
            </a:r>
          </a:p>
          <a:p>
            <a:r>
              <a:rPr lang="pt-BR" sz="1400" dirty="0"/>
              <a:t>Itens são mais falados nas redes sociais e recomenda-lo</a:t>
            </a:r>
          </a:p>
        </p:txBody>
      </p:sp>
      <p:cxnSp>
        <p:nvCxnSpPr>
          <p:cNvPr id="38" name="Conector de Seta Reta 37">
            <a:extLst>
              <a:ext uri="{FF2B5EF4-FFF2-40B4-BE49-F238E27FC236}">
                <a16:creationId xmlns:a16="http://schemas.microsoft.com/office/drawing/2014/main" id="{5B045094-683C-4669-A960-B2447645396D}"/>
              </a:ext>
            </a:extLst>
          </p:cNvPr>
          <p:cNvCxnSpPr>
            <a:cxnSpLocks/>
          </p:cNvCxnSpPr>
          <p:nvPr/>
        </p:nvCxnSpPr>
        <p:spPr>
          <a:xfrm flipV="1">
            <a:off x="3353788" y="2185703"/>
            <a:ext cx="1423485" cy="7208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2" name="Conector de Seta Reta 41">
            <a:extLst>
              <a:ext uri="{FF2B5EF4-FFF2-40B4-BE49-F238E27FC236}">
                <a16:creationId xmlns:a16="http://schemas.microsoft.com/office/drawing/2014/main" id="{B1F4083E-9017-4569-848D-A77759D0EA23}"/>
              </a:ext>
            </a:extLst>
          </p:cNvPr>
          <p:cNvCxnSpPr>
            <a:cxnSpLocks/>
          </p:cNvCxnSpPr>
          <p:nvPr/>
        </p:nvCxnSpPr>
        <p:spPr>
          <a:xfrm>
            <a:off x="3367490" y="3785216"/>
            <a:ext cx="1192533" cy="1710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" name="Conector de Seta Reta 43">
            <a:extLst>
              <a:ext uri="{FF2B5EF4-FFF2-40B4-BE49-F238E27FC236}">
                <a16:creationId xmlns:a16="http://schemas.microsoft.com/office/drawing/2014/main" id="{DFC94E31-672E-4B0F-9675-4C4C5DAFDF40}"/>
              </a:ext>
            </a:extLst>
          </p:cNvPr>
          <p:cNvCxnSpPr>
            <a:cxnSpLocks/>
          </p:cNvCxnSpPr>
          <p:nvPr/>
        </p:nvCxnSpPr>
        <p:spPr>
          <a:xfrm>
            <a:off x="7525050" y="2572484"/>
            <a:ext cx="1637001" cy="41797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7" name="Conector de Seta Reta 46">
            <a:extLst>
              <a:ext uri="{FF2B5EF4-FFF2-40B4-BE49-F238E27FC236}">
                <a16:creationId xmlns:a16="http://schemas.microsoft.com/office/drawing/2014/main" id="{97C62EA3-FBAC-4093-AD2B-7D642F0EDA8C}"/>
              </a:ext>
            </a:extLst>
          </p:cNvPr>
          <p:cNvCxnSpPr>
            <a:cxnSpLocks/>
          </p:cNvCxnSpPr>
          <p:nvPr/>
        </p:nvCxnSpPr>
        <p:spPr>
          <a:xfrm>
            <a:off x="7417837" y="3756924"/>
            <a:ext cx="1744214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B36B89DD-E7C3-44CB-9458-789401D74193}"/>
              </a:ext>
            </a:extLst>
          </p:cNvPr>
          <p:cNvCxnSpPr>
            <a:cxnSpLocks/>
          </p:cNvCxnSpPr>
          <p:nvPr/>
        </p:nvCxnSpPr>
        <p:spPr>
          <a:xfrm>
            <a:off x="3353788" y="4955106"/>
            <a:ext cx="1012939" cy="69645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0" name="Imagem 19" descr="Logotipo, Ícone&#10;&#10;Descrição gerada automaticamente">
            <a:extLst>
              <a:ext uri="{FF2B5EF4-FFF2-40B4-BE49-F238E27FC236}">
                <a16:creationId xmlns:a16="http://schemas.microsoft.com/office/drawing/2014/main" id="{976744A7-910F-40C9-8554-781BCAFCD9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8356" y="5027191"/>
            <a:ext cx="1095070" cy="1095070"/>
          </a:xfrm>
          <a:prstGeom prst="rect">
            <a:avLst/>
          </a:prstGeom>
        </p:spPr>
      </p:pic>
      <p:sp>
        <p:nvSpPr>
          <p:cNvPr id="21" name="CaixaDeTexto 20">
            <a:extLst>
              <a:ext uri="{FF2B5EF4-FFF2-40B4-BE49-F238E27FC236}">
                <a16:creationId xmlns:a16="http://schemas.microsoft.com/office/drawing/2014/main" id="{5E0921DF-0D5F-4D59-BCF8-A87F06E98783}"/>
              </a:ext>
            </a:extLst>
          </p:cNvPr>
          <p:cNvSpPr txBox="1"/>
          <p:nvPr/>
        </p:nvSpPr>
        <p:spPr>
          <a:xfrm>
            <a:off x="4366727" y="6186800"/>
            <a:ext cx="3568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Melhorar a Análise Sazonal e recomendar por</a:t>
            </a:r>
          </a:p>
          <a:p>
            <a:r>
              <a:rPr lang="pt-BR" sz="1400" dirty="0"/>
              <a:t>                          região</a:t>
            </a:r>
          </a:p>
        </p:txBody>
      </p:sp>
      <p:cxnSp>
        <p:nvCxnSpPr>
          <p:cNvPr id="22" name="Conector de Seta Reta 21">
            <a:extLst>
              <a:ext uri="{FF2B5EF4-FFF2-40B4-BE49-F238E27FC236}">
                <a16:creationId xmlns:a16="http://schemas.microsoft.com/office/drawing/2014/main" id="{7B6FF7A0-C133-45DF-92DA-C088250B62F5}"/>
              </a:ext>
            </a:extLst>
          </p:cNvPr>
          <p:cNvCxnSpPr>
            <a:cxnSpLocks/>
          </p:cNvCxnSpPr>
          <p:nvPr/>
        </p:nvCxnSpPr>
        <p:spPr>
          <a:xfrm flipV="1">
            <a:off x="7525050" y="4674637"/>
            <a:ext cx="1702926" cy="97692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6817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B0626B-07A3-42D4-BA46-6E0A3D425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</p:spPr>
        <p:txBody>
          <a:bodyPr>
            <a:normAutofit/>
          </a:bodyPr>
          <a:lstStyle/>
          <a:p>
            <a:r>
              <a:rPr lang="pt-BR" dirty="0"/>
              <a:t>Integrantes da equip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DED9FAA-592D-4DA4-802D-46D406AACC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2880" y="1389893"/>
            <a:ext cx="6015897" cy="359359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pt-BR" sz="1600" dirty="0"/>
              <a:t>Renan Craveiro de Oliveira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29 anos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Comerciante na área de Informática – Reciclagem de cartuchos e toners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Formado em:  Análise e desenvolvimento de Sistemas FATEC São Caetano do Sul (2010-2013)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Pós graduando em Big Data e Ciência de dados (2021- em andamento) – PUC MG</a:t>
            </a:r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Apaixonado por cervejas, esportes de artes marciais e </a:t>
            </a:r>
            <a:r>
              <a:rPr lang="pt-BR" sz="1600" dirty="0" err="1"/>
              <a:t>rugby</a:t>
            </a:r>
            <a:endParaRPr lang="pt-BR" sz="1600" dirty="0"/>
          </a:p>
          <a:p>
            <a:pPr>
              <a:lnSpc>
                <a:spcPct val="100000"/>
              </a:lnSpc>
            </a:pPr>
            <a:endParaRPr lang="pt-BR" sz="1600" dirty="0"/>
          </a:p>
          <a:p>
            <a:pPr>
              <a:lnSpc>
                <a:spcPct val="100000"/>
              </a:lnSpc>
            </a:pPr>
            <a:r>
              <a:rPr lang="pt-BR" sz="1600" dirty="0"/>
              <a:t>Tio do Lucca</a:t>
            </a:r>
          </a:p>
        </p:txBody>
      </p:sp>
      <p:pic>
        <p:nvPicPr>
          <p:cNvPr id="6" name="Imagem 5" descr="Homem com óculos de grau e terno&#10;&#10;Descrição gerada automaticamente">
            <a:extLst>
              <a:ext uri="{FF2B5EF4-FFF2-40B4-BE49-F238E27FC236}">
                <a16:creationId xmlns:a16="http://schemas.microsoft.com/office/drawing/2014/main" id="{A122734B-CD33-4EC6-8010-D22ACDE2DF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2901" y="1389893"/>
            <a:ext cx="3986786" cy="4983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610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Ponto de interrogação em tela de fundo verde pastel">
            <a:extLst>
              <a:ext uri="{FF2B5EF4-FFF2-40B4-BE49-F238E27FC236}">
                <a16:creationId xmlns:a16="http://schemas.microsoft.com/office/drawing/2014/main" id="{90EB3A33-61AA-474B-8E59-0DB9114822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458" r="3466"/>
          <a:stretch/>
        </p:blipFill>
        <p:spPr>
          <a:xfrm>
            <a:off x="7338646" y="10"/>
            <a:ext cx="4853354" cy="6857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54BD2064-10D3-4385-875A-1BF95E892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912" y="2129518"/>
            <a:ext cx="6015897" cy="2598964"/>
          </a:xfrm>
        </p:spPr>
        <p:txBody>
          <a:bodyPr>
            <a:normAutofit/>
          </a:bodyPr>
          <a:lstStyle/>
          <a:p>
            <a:r>
              <a:rPr lang="pt-BR" dirty="0"/>
              <a:t>E ai, Bora para recomendação saideira</a:t>
            </a:r>
          </a:p>
        </p:txBody>
      </p:sp>
    </p:spTree>
    <p:extLst>
      <p:ext uri="{BB962C8B-B14F-4D97-AF65-F5344CB8AC3E}">
        <p14:creationId xmlns:p14="http://schemas.microsoft.com/office/powerpoint/2010/main" val="2185966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233AD0-A916-439C-A604-F26BB1177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github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CD22DF7-4EAC-45FD-BF5E-1A509694D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/>
              <a:t>https://github.com/renan-portifolio/recomendacao-ambev.git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99800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947F4CF-B2C7-4C1B-A65D-AE4CF9B3A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egrantes da equip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B08E348-9DA7-40E1-83D4-7106FAA733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7021" y="1874517"/>
            <a:ext cx="5334000" cy="5140170"/>
          </a:xfrm>
        </p:spPr>
        <p:txBody>
          <a:bodyPr/>
          <a:lstStyle/>
          <a:p>
            <a:r>
              <a:rPr lang="pt-BR" sz="1600" dirty="0"/>
              <a:t>Gustavo Oliveira Rocha Gomes</a:t>
            </a:r>
          </a:p>
          <a:p>
            <a:endParaRPr lang="pt-BR" sz="1600" dirty="0"/>
          </a:p>
          <a:p>
            <a:r>
              <a:rPr lang="pt-BR" sz="1600" dirty="0"/>
              <a:t>21 anos</a:t>
            </a:r>
          </a:p>
          <a:p>
            <a:endParaRPr lang="pt-BR" sz="1600" dirty="0"/>
          </a:p>
          <a:p>
            <a:r>
              <a:rPr lang="pt-BR" sz="1600" dirty="0"/>
              <a:t>Estudante de Ciência da Computação na PUC-MG e no МФТИ</a:t>
            </a:r>
          </a:p>
          <a:p>
            <a:endParaRPr lang="pt-BR" sz="1600" dirty="0"/>
          </a:p>
          <a:p>
            <a:r>
              <a:rPr lang="pt-BR" sz="1600" dirty="0"/>
              <a:t>Estagiário de desenvolvimento de software na RDI software </a:t>
            </a:r>
          </a:p>
          <a:p>
            <a:endParaRPr lang="pt-BR" sz="1600" dirty="0"/>
          </a:p>
          <a:p>
            <a:r>
              <a:rPr lang="pt-BR" sz="1600" dirty="0"/>
              <a:t>Apaixonado por desenvolvimento, livros e RPG</a:t>
            </a:r>
          </a:p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40863B05-C7ED-467E-ADD8-5CD90ECBA0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4072" y="1247775"/>
            <a:ext cx="3643728" cy="5140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029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Ponto de interrogação em tela de fundo verde pastel">
            <a:extLst>
              <a:ext uri="{FF2B5EF4-FFF2-40B4-BE49-F238E27FC236}">
                <a16:creationId xmlns:a16="http://schemas.microsoft.com/office/drawing/2014/main" id="{90EB3A33-61AA-474B-8E59-0DB9114822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458" r="3466"/>
          <a:stretch/>
        </p:blipFill>
        <p:spPr>
          <a:xfrm>
            <a:off x="7338646" y="10"/>
            <a:ext cx="4853354" cy="6857990"/>
          </a:xfrm>
          <a:prstGeom prst="rect">
            <a:avLst/>
          </a:prstGeom>
        </p:spPr>
      </p:pic>
      <p:sp>
        <p:nvSpPr>
          <p:cNvPr id="18" name="Freeform 10">
            <a:extLst>
              <a:ext uri="{FF2B5EF4-FFF2-40B4-BE49-F238E27FC236}">
                <a16:creationId xmlns:a16="http://schemas.microsoft.com/office/drawing/2014/main" id="{E1CE536E-134A-4A35-900B-30F927D5B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0" y="0"/>
            <a:ext cx="7569200" cy="6858000"/>
          </a:xfrm>
          <a:custGeom>
            <a:avLst/>
            <a:gdLst>
              <a:gd name="connsiteX0" fmla="*/ 0 w 7569200"/>
              <a:gd name="connsiteY0" fmla="*/ 0 h 6858000"/>
              <a:gd name="connsiteX1" fmla="*/ 7389812 w 7569200"/>
              <a:gd name="connsiteY1" fmla="*/ 0 h 6858000"/>
              <a:gd name="connsiteX2" fmla="*/ 7394575 w 7569200"/>
              <a:gd name="connsiteY2" fmla="*/ 66675 h 6858000"/>
              <a:gd name="connsiteX3" fmla="*/ 7402512 w 7569200"/>
              <a:gd name="connsiteY3" fmla="*/ 122237 h 6858000"/>
              <a:gd name="connsiteX4" fmla="*/ 7412037 w 7569200"/>
              <a:gd name="connsiteY4" fmla="*/ 174625 h 6858000"/>
              <a:gd name="connsiteX5" fmla="*/ 7427912 w 7569200"/>
              <a:gd name="connsiteY5" fmla="*/ 217487 h 6858000"/>
              <a:gd name="connsiteX6" fmla="*/ 7443787 w 7569200"/>
              <a:gd name="connsiteY6" fmla="*/ 260350 h 6858000"/>
              <a:gd name="connsiteX7" fmla="*/ 7462837 w 7569200"/>
              <a:gd name="connsiteY7" fmla="*/ 296862 h 6858000"/>
              <a:gd name="connsiteX8" fmla="*/ 7481887 w 7569200"/>
              <a:gd name="connsiteY8" fmla="*/ 334962 h 6858000"/>
              <a:gd name="connsiteX9" fmla="*/ 7499350 w 7569200"/>
              <a:gd name="connsiteY9" fmla="*/ 369887 h 6858000"/>
              <a:gd name="connsiteX10" fmla="*/ 7516812 w 7569200"/>
              <a:gd name="connsiteY10" fmla="*/ 409575 h 6858000"/>
              <a:gd name="connsiteX11" fmla="*/ 7532687 w 7569200"/>
              <a:gd name="connsiteY11" fmla="*/ 450850 h 6858000"/>
              <a:gd name="connsiteX12" fmla="*/ 7546975 w 7569200"/>
              <a:gd name="connsiteY12" fmla="*/ 496887 h 6858000"/>
              <a:gd name="connsiteX13" fmla="*/ 7558087 w 7569200"/>
              <a:gd name="connsiteY13" fmla="*/ 546100 h 6858000"/>
              <a:gd name="connsiteX14" fmla="*/ 7566025 w 7569200"/>
              <a:gd name="connsiteY14" fmla="*/ 606425 h 6858000"/>
              <a:gd name="connsiteX15" fmla="*/ 7569200 w 7569200"/>
              <a:gd name="connsiteY15" fmla="*/ 673100 h 6858000"/>
              <a:gd name="connsiteX16" fmla="*/ 7566025 w 7569200"/>
              <a:gd name="connsiteY16" fmla="*/ 744537 h 6858000"/>
              <a:gd name="connsiteX17" fmla="*/ 7558087 w 7569200"/>
              <a:gd name="connsiteY17" fmla="*/ 801687 h 6858000"/>
              <a:gd name="connsiteX18" fmla="*/ 7546975 w 7569200"/>
              <a:gd name="connsiteY18" fmla="*/ 854075 h 6858000"/>
              <a:gd name="connsiteX19" fmla="*/ 7532687 w 7569200"/>
              <a:gd name="connsiteY19" fmla="*/ 901700 h 6858000"/>
              <a:gd name="connsiteX20" fmla="*/ 7516812 w 7569200"/>
              <a:gd name="connsiteY20" fmla="*/ 942975 h 6858000"/>
              <a:gd name="connsiteX21" fmla="*/ 7497762 w 7569200"/>
              <a:gd name="connsiteY21" fmla="*/ 981075 h 6858000"/>
              <a:gd name="connsiteX22" fmla="*/ 7478712 w 7569200"/>
              <a:gd name="connsiteY22" fmla="*/ 1017587 h 6858000"/>
              <a:gd name="connsiteX23" fmla="*/ 7459662 w 7569200"/>
              <a:gd name="connsiteY23" fmla="*/ 1055687 h 6858000"/>
              <a:gd name="connsiteX24" fmla="*/ 7442200 w 7569200"/>
              <a:gd name="connsiteY24" fmla="*/ 1095375 h 6858000"/>
              <a:gd name="connsiteX25" fmla="*/ 7424737 w 7569200"/>
              <a:gd name="connsiteY25" fmla="*/ 1136650 h 6858000"/>
              <a:gd name="connsiteX26" fmla="*/ 7410450 w 7569200"/>
              <a:gd name="connsiteY26" fmla="*/ 1182687 h 6858000"/>
              <a:gd name="connsiteX27" fmla="*/ 7400925 w 7569200"/>
              <a:gd name="connsiteY27" fmla="*/ 1235075 h 6858000"/>
              <a:gd name="connsiteX28" fmla="*/ 7391400 w 7569200"/>
              <a:gd name="connsiteY28" fmla="*/ 1295400 h 6858000"/>
              <a:gd name="connsiteX29" fmla="*/ 7389812 w 7569200"/>
              <a:gd name="connsiteY29" fmla="*/ 1363662 h 6858000"/>
              <a:gd name="connsiteX30" fmla="*/ 7391400 w 7569200"/>
              <a:gd name="connsiteY30" fmla="*/ 1431925 h 6858000"/>
              <a:gd name="connsiteX31" fmla="*/ 7400925 w 7569200"/>
              <a:gd name="connsiteY31" fmla="*/ 1492250 h 6858000"/>
              <a:gd name="connsiteX32" fmla="*/ 7410450 w 7569200"/>
              <a:gd name="connsiteY32" fmla="*/ 1544637 h 6858000"/>
              <a:gd name="connsiteX33" fmla="*/ 7424737 w 7569200"/>
              <a:gd name="connsiteY33" fmla="*/ 1589087 h 6858000"/>
              <a:gd name="connsiteX34" fmla="*/ 7442200 w 7569200"/>
              <a:gd name="connsiteY34" fmla="*/ 1631950 h 6858000"/>
              <a:gd name="connsiteX35" fmla="*/ 7459662 w 7569200"/>
              <a:gd name="connsiteY35" fmla="*/ 1671637 h 6858000"/>
              <a:gd name="connsiteX36" fmla="*/ 7478712 w 7569200"/>
              <a:gd name="connsiteY36" fmla="*/ 1708150 h 6858000"/>
              <a:gd name="connsiteX37" fmla="*/ 7497762 w 7569200"/>
              <a:gd name="connsiteY37" fmla="*/ 1743075 h 6858000"/>
              <a:gd name="connsiteX38" fmla="*/ 7516812 w 7569200"/>
              <a:gd name="connsiteY38" fmla="*/ 1782762 h 6858000"/>
              <a:gd name="connsiteX39" fmla="*/ 7532687 w 7569200"/>
              <a:gd name="connsiteY39" fmla="*/ 1824037 h 6858000"/>
              <a:gd name="connsiteX40" fmla="*/ 7546975 w 7569200"/>
              <a:gd name="connsiteY40" fmla="*/ 1870075 h 6858000"/>
              <a:gd name="connsiteX41" fmla="*/ 7558087 w 7569200"/>
              <a:gd name="connsiteY41" fmla="*/ 1922462 h 6858000"/>
              <a:gd name="connsiteX42" fmla="*/ 7566025 w 7569200"/>
              <a:gd name="connsiteY42" fmla="*/ 1982787 h 6858000"/>
              <a:gd name="connsiteX43" fmla="*/ 7569200 w 7569200"/>
              <a:gd name="connsiteY43" fmla="*/ 2051050 h 6858000"/>
              <a:gd name="connsiteX44" fmla="*/ 7566025 w 7569200"/>
              <a:gd name="connsiteY44" fmla="*/ 2119312 h 6858000"/>
              <a:gd name="connsiteX45" fmla="*/ 7558087 w 7569200"/>
              <a:gd name="connsiteY45" fmla="*/ 2179637 h 6858000"/>
              <a:gd name="connsiteX46" fmla="*/ 7546975 w 7569200"/>
              <a:gd name="connsiteY46" fmla="*/ 2232025 h 6858000"/>
              <a:gd name="connsiteX47" fmla="*/ 7532687 w 7569200"/>
              <a:gd name="connsiteY47" fmla="*/ 2278062 h 6858000"/>
              <a:gd name="connsiteX48" fmla="*/ 7516812 w 7569200"/>
              <a:gd name="connsiteY48" fmla="*/ 2319337 h 6858000"/>
              <a:gd name="connsiteX49" fmla="*/ 7497762 w 7569200"/>
              <a:gd name="connsiteY49" fmla="*/ 2359025 h 6858000"/>
              <a:gd name="connsiteX50" fmla="*/ 7478712 w 7569200"/>
              <a:gd name="connsiteY50" fmla="*/ 2395537 h 6858000"/>
              <a:gd name="connsiteX51" fmla="*/ 7459662 w 7569200"/>
              <a:gd name="connsiteY51" fmla="*/ 2433637 h 6858000"/>
              <a:gd name="connsiteX52" fmla="*/ 7442200 w 7569200"/>
              <a:gd name="connsiteY52" fmla="*/ 2471737 h 6858000"/>
              <a:gd name="connsiteX53" fmla="*/ 7424737 w 7569200"/>
              <a:gd name="connsiteY53" fmla="*/ 2513012 h 6858000"/>
              <a:gd name="connsiteX54" fmla="*/ 7410450 w 7569200"/>
              <a:gd name="connsiteY54" fmla="*/ 2560637 h 6858000"/>
              <a:gd name="connsiteX55" fmla="*/ 7400925 w 7569200"/>
              <a:gd name="connsiteY55" fmla="*/ 2613025 h 6858000"/>
              <a:gd name="connsiteX56" fmla="*/ 7391400 w 7569200"/>
              <a:gd name="connsiteY56" fmla="*/ 2671762 h 6858000"/>
              <a:gd name="connsiteX57" fmla="*/ 7389812 w 7569200"/>
              <a:gd name="connsiteY57" fmla="*/ 2741612 h 6858000"/>
              <a:gd name="connsiteX58" fmla="*/ 7391400 w 7569200"/>
              <a:gd name="connsiteY58" fmla="*/ 2809875 h 6858000"/>
              <a:gd name="connsiteX59" fmla="*/ 7400925 w 7569200"/>
              <a:gd name="connsiteY59" fmla="*/ 2868612 h 6858000"/>
              <a:gd name="connsiteX60" fmla="*/ 7410450 w 7569200"/>
              <a:gd name="connsiteY60" fmla="*/ 2922587 h 6858000"/>
              <a:gd name="connsiteX61" fmla="*/ 7424737 w 7569200"/>
              <a:gd name="connsiteY61" fmla="*/ 2967037 h 6858000"/>
              <a:gd name="connsiteX62" fmla="*/ 7442200 w 7569200"/>
              <a:gd name="connsiteY62" fmla="*/ 3009900 h 6858000"/>
              <a:gd name="connsiteX63" fmla="*/ 7459662 w 7569200"/>
              <a:gd name="connsiteY63" fmla="*/ 3046412 h 6858000"/>
              <a:gd name="connsiteX64" fmla="*/ 7478712 w 7569200"/>
              <a:gd name="connsiteY64" fmla="*/ 3084512 h 6858000"/>
              <a:gd name="connsiteX65" fmla="*/ 7497762 w 7569200"/>
              <a:gd name="connsiteY65" fmla="*/ 3121025 h 6858000"/>
              <a:gd name="connsiteX66" fmla="*/ 7516812 w 7569200"/>
              <a:gd name="connsiteY66" fmla="*/ 3160712 h 6858000"/>
              <a:gd name="connsiteX67" fmla="*/ 7532687 w 7569200"/>
              <a:gd name="connsiteY67" fmla="*/ 3201987 h 6858000"/>
              <a:gd name="connsiteX68" fmla="*/ 7546975 w 7569200"/>
              <a:gd name="connsiteY68" fmla="*/ 3248025 h 6858000"/>
              <a:gd name="connsiteX69" fmla="*/ 7558087 w 7569200"/>
              <a:gd name="connsiteY69" fmla="*/ 3300412 h 6858000"/>
              <a:gd name="connsiteX70" fmla="*/ 7566025 w 7569200"/>
              <a:gd name="connsiteY70" fmla="*/ 3360737 h 6858000"/>
              <a:gd name="connsiteX71" fmla="*/ 7569200 w 7569200"/>
              <a:gd name="connsiteY71" fmla="*/ 3427412 h 6858000"/>
              <a:gd name="connsiteX72" fmla="*/ 7566025 w 7569200"/>
              <a:gd name="connsiteY72" fmla="*/ 3497262 h 6858000"/>
              <a:gd name="connsiteX73" fmla="*/ 7558087 w 7569200"/>
              <a:gd name="connsiteY73" fmla="*/ 3557587 h 6858000"/>
              <a:gd name="connsiteX74" fmla="*/ 7546975 w 7569200"/>
              <a:gd name="connsiteY74" fmla="*/ 3609975 h 6858000"/>
              <a:gd name="connsiteX75" fmla="*/ 7532687 w 7569200"/>
              <a:gd name="connsiteY75" fmla="*/ 3656012 h 6858000"/>
              <a:gd name="connsiteX76" fmla="*/ 7516812 w 7569200"/>
              <a:gd name="connsiteY76" fmla="*/ 3697287 h 6858000"/>
              <a:gd name="connsiteX77" fmla="*/ 7497762 w 7569200"/>
              <a:gd name="connsiteY77" fmla="*/ 3736975 h 6858000"/>
              <a:gd name="connsiteX78" fmla="*/ 7459662 w 7569200"/>
              <a:gd name="connsiteY78" fmla="*/ 3811587 h 6858000"/>
              <a:gd name="connsiteX79" fmla="*/ 7442200 w 7569200"/>
              <a:gd name="connsiteY79" fmla="*/ 3848100 h 6858000"/>
              <a:gd name="connsiteX80" fmla="*/ 7424737 w 7569200"/>
              <a:gd name="connsiteY80" fmla="*/ 3890962 h 6858000"/>
              <a:gd name="connsiteX81" fmla="*/ 7410450 w 7569200"/>
              <a:gd name="connsiteY81" fmla="*/ 3935412 h 6858000"/>
              <a:gd name="connsiteX82" fmla="*/ 7400925 w 7569200"/>
              <a:gd name="connsiteY82" fmla="*/ 3987800 h 6858000"/>
              <a:gd name="connsiteX83" fmla="*/ 7391400 w 7569200"/>
              <a:gd name="connsiteY83" fmla="*/ 4048125 h 6858000"/>
              <a:gd name="connsiteX84" fmla="*/ 7389812 w 7569200"/>
              <a:gd name="connsiteY84" fmla="*/ 4116387 h 6858000"/>
              <a:gd name="connsiteX85" fmla="*/ 7391400 w 7569200"/>
              <a:gd name="connsiteY85" fmla="*/ 4186237 h 6858000"/>
              <a:gd name="connsiteX86" fmla="*/ 7400925 w 7569200"/>
              <a:gd name="connsiteY86" fmla="*/ 4244975 h 6858000"/>
              <a:gd name="connsiteX87" fmla="*/ 7410450 w 7569200"/>
              <a:gd name="connsiteY87" fmla="*/ 4297362 h 6858000"/>
              <a:gd name="connsiteX88" fmla="*/ 7424737 w 7569200"/>
              <a:gd name="connsiteY88" fmla="*/ 4343400 h 6858000"/>
              <a:gd name="connsiteX89" fmla="*/ 7442200 w 7569200"/>
              <a:gd name="connsiteY89" fmla="*/ 4386262 h 6858000"/>
              <a:gd name="connsiteX90" fmla="*/ 7459662 w 7569200"/>
              <a:gd name="connsiteY90" fmla="*/ 4424362 h 6858000"/>
              <a:gd name="connsiteX91" fmla="*/ 7497762 w 7569200"/>
              <a:gd name="connsiteY91" fmla="*/ 4498975 h 6858000"/>
              <a:gd name="connsiteX92" fmla="*/ 7516812 w 7569200"/>
              <a:gd name="connsiteY92" fmla="*/ 4537075 h 6858000"/>
              <a:gd name="connsiteX93" fmla="*/ 7532687 w 7569200"/>
              <a:gd name="connsiteY93" fmla="*/ 4579937 h 6858000"/>
              <a:gd name="connsiteX94" fmla="*/ 7546975 w 7569200"/>
              <a:gd name="connsiteY94" fmla="*/ 4625975 h 6858000"/>
              <a:gd name="connsiteX95" fmla="*/ 7558087 w 7569200"/>
              <a:gd name="connsiteY95" fmla="*/ 4678362 h 6858000"/>
              <a:gd name="connsiteX96" fmla="*/ 7566025 w 7569200"/>
              <a:gd name="connsiteY96" fmla="*/ 4738687 h 6858000"/>
              <a:gd name="connsiteX97" fmla="*/ 7569200 w 7569200"/>
              <a:gd name="connsiteY97" fmla="*/ 4806950 h 6858000"/>
              <a:gd name="connsiteX98" fmla="*/ 7566025 w 7569200"/>
              <a:gd name="connsiteY98" fmla="*/ 4875212 h 6858000"/>
              <a:gd name="connsiteX99" fmla="*/ 7558087 w 7569200"/>
              <a:gd name="connsiteY99" fmla="*/ 4935537 h 6858000"/>
              <a:gd name="connsiteX100" fmla="*/ 7546975 w 7569200"/>
              <a:gd name="connsiteY100" fmla="*/ 4987925 h 6858000"/>
              <a:gd name="connsiteX101" fmla="*/ 7532687 w 7569200"/>
              <a:gd name="connsiteY101" fmla="*/ 5033962 h 6858000"/>
              <a:gd name="connsiteX102" fmla="*/ 7516812 w 7569200"/>
              <a:gd name="connsiteY102" fmla="*/ 5075237 h 6858000"/>
              <a:gd name="connsiteX103" fmla="*/ 7497762 w 7569200"/>
              <a:gd name="connsiteY103" fmla="*/ 5114925 h 6858000"/>
              <a:gd name="connsiteX104" fmla="*/ 7478712 w 7569200"/>
              <a:gd name="connsiteY104" fmla="*/ 5149850 h 6858000"/>
              <a:gd name="connsiteX105" fmla="*/ 7459662 w 7569200"/>
              <a:gd name="connsiteY105" fmla="*/ 5186362 h 6858000"/>
              <a:gd name="connsiteX106" fmla="*/ 7442200 w 7569200"/>
              <a:gd name="connsiteY106" fmla="*/ 5226050 h 6858000"/>
              <a:gd name="connsiteX107" fmla="*/ 7424737 w 7569200"/>
              <a:gd name="connsiteY107" fmla="*/ 5268912 h 6858000"/>
              <a:gd name="connsiteX108" fmla="*/ 7410450 w 7569200"/>
              <a:gd name="connsiteY108" fmla="*/ 5313362 h 6858000"/>
              <a:gd name="connsiteX109" fmla="*/ 7400925 w 7569200"/>
              <a:gd name="connsiteY109" fmla="*/ 5365750 h 6858000"/>
              <a:gd name="connsiteX110" fmla="*/ 7391400 w 7569200"/>
              <a:gd name="connsiteY110" fmla="*/ 5426075 h 6858000"/>
              <a:gd name="connsiteX111" fmla="*/ 7389812 w 7569200"/>
              <a:gd name="connsiteY111" fmla="*/ 5494337 h 6858000"/>
              <a:gd name="connsiteX112" fmla="*/ 7391400 w 7569200"/>
              <a:gd name="connsiteY112" fmla="*/ 5562600 h 6858000"/>
              <a:gd name="connsiteX113" fmla="*/ 7400925 w 7569200"/>
              <a:gd name="connsiteY113" fmla="*/ 5622925 h 6858000"/>
              <a:gd name="connsiteX114" fmla="*/ 7410450 w 7569200"/>
              <a:gd name="connsiteY114" fmla="*/ 5675312 h 6858000"/>
              <a:gd name="connsiteX115" fmla="*/ 7424737 w 7569200"/>
              <a:gd name="connsiteY115" fmla="*/ 5721350 h 6858000"/>
              <a:gd name="connsiteX116" fmla="*/ 7442200 w 7569200"/>
              <a:gd name="connsiteY116" fmla="*/ 5762625 h 6858000"/>
              <a:gd name="connsiteX117" fmla="*/ 7459662 w 7569200"/>
              <a:gd name="connsiteY117" fmla="*/ 5802312 h 6858000"/>
              <a:gd name="connsiteX118" fmla="*/ 7478712 w 7569200"/>
              <a:gd name="connsiteY118" fmla="*/ 5840412 h 6858000"/>
              <a:gd name="connsiteX119" fmla="*/ 7497762 w 7569200"/>
              <a:gd name="connsiteY119" fmla="*/ 5876925 h 6858000"/>
              <a:gd name="connsiteX120" fmla="*/ 7516812 w 7569200"/>
              <a:gd name="connsiteY120" fmla="*/ 5915025 h 6858000"/>
              <a:gd name="connsiteX121" fmla="*/ 7532687 w 7569200"/>
              <a:gd name="connsiteY121" fmla="*/ 5956300 h 6858000"/>
              <a:gd name="connsiteX122" fmla="*/ 7546975 w 7569200"/>
              <a:gd name="connsiteY122" fmla="*/ 6003925 h 6858000"/>
              <a:gd name="connsiteX123" fmla="*/ 7558087 w 7569200"/>
              <a:gd name="connsiteY123" fmla="*/ 6056312 h 6858000"/>
              <a:gd name="connsiteX124" fmla="*/ 7566025 w 7569200"/>
              <a:gd name="connsiteY124" fmla="*/ 6113462 h 6858000"/>
              <a:gd name="connsiteX125" fmla="*/ 7569200 w 7569200"/>
              <a:gd name="connsiteY125" fmla="*/ 6183312 h 6858000"/>
              <a:gd name="connsiteX126" fmla="*/ 7566025 w 7569200"/>
              <a:gd name="connsiteY126" fmla="*/ 6251575 h 6858000"/>
              <a:gd name="connsiteX127" fmla="*/ 7558087 w 7569200"/>
              <a:gd name="connsiteY127" fmla="*/ 6311900 h 6858000"/>
              <a:gd name="connsiteX128" fmla="*/ 7546975 w 7569200"/>
              <a:gd name="connsiteY128" fmla="*/ 6361112 h 6858000"/>
              <a:gd name="connsiteX129" fmla="*/ 7532687 w 7569200"/>
              <a:gd name="connsiteY129" fmla="*/ 6407150 h 6858000"/>
              <a:gd name="connsiteX130" fmla="*/ 7516812 w 7569200"/>
              <a:gd name="connsiteY130" fmla="*/ 6448425 h 6858000"/>
              <a:gd name="connsiteX131" fmla="*/ 7499350 w 7569200"/>
              <a:gd name="connsiteY131" fmla="*/ 6488112 h 6858000"/>
              <a:gd name="connsiteX132" fmla="*/ 7481887 w 7569200"/>
              <a:gd name="connsiteY132" fmla="*/ 6523037 h 6858000"/>
              <a:gd name="connsiteX133" fmla="*/ 7462837 w 7569200"/>
              <a:gd name="connsiteY133" fmla="*/ 6561137 h 6858000"/>
              <a:gd name="connsiteX134" fmla="*/ 7443787 w 7569200"/>
              <a:gd name="connsiteY134" fmla="*/ 6597650 h 6858000"/>
              <a:gd name="connsiteX135" fmla="*/ 7427912 w 7569200"/>
              <a:gd name="connsiteY135" fmla="*/ 6640512 h 6858000"/>
              <a:gd name="connsiteX136" fmla="*/ 7412037 w 7569200"/>
              <a:gd name="connsiteY136" fmla="*/ 6683375 h 6858000"/>
              <a:gd name="connsiteX137" fmla="*/ 7402512 w 7569200"/>
              <a:gd name="connsiteY137" fmla="*/ 6735762 h 6858000"/>
              <a:gd name="connsiteX138" fmla="*/ 7394575 w 7569200"/>
              <a:gd name="connsiteY138" fmla="*/ 6791325 h 6858000"/>
              <a:gd name="connsiteX139" fmla="*/ 7389812 w 7569200"/>
              <a:gd name="connsiteY139" fmla="*/ 6858000 h 6858000"/>
              <a:gd name="connsiteX140" fmla="*/ 0 w 7569200"/>
              <a:gd name="connsiteY140" fmla="*/ 6858000 h 6858000"/>
              <a:gd name="connsiteX141" fmla="*/ 0 w 7569200"/>
              <a:gd name="connsiteY14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7569200" h="6858000">
                <a:moveTo>
                  <a:pt x="0" y="0"/>
                </a:moveTo>
                <a:lnTo>
                  <a:pt x="7389812" y="0"/>
                </a:lnTo>
                <a:lnTo>
                  <a:pt x="7394575" y="66675"/>
                </a:lnTo>
                <a:lnTo>
                  <a:pt x="7402512" y="122237"/>
                </a:lnTo>
                <a:lnTo>
                  <a:pt x="7412037" y="174625"/>
                </a:lnTo>
                <a:lnTo>
                  <a:pt x="7427912" y="217487"/>
                </a:lnTo>
                <a:lnTo>
                  <a:pt x="7443787" y="260350"/>
                </a:lnTo>
                <a:lnTo>
                  <a:pt x="7462837" y="296862"/>
                </a:lnTo>
                <a:lnTo>
                  <a:pt x="7481887" y="334962"/>
                </a:lnTo>
                <a:lnTo>
                  <a:pt x="7499350" y="369887"/>
                </a:lnTo>
                <a:lnTo>
                  <a:pt x="7516812" y="409575"/>
                </a:lnTo>
                <a:lnTo>
                  <a:pt x="7532687" y="450850"/>
                </a:lnTo>
                <a:lnTo>
                  <a:pt x="7546975" y="496887"/>
                </a:lnTo>
                <a:lnTo>
                  <a:pt x="7558087" y="546100"/>
                </a:lnTo>
                <a:lnTo>
                  <a:pt x="7566025" y="606425"/>
                </a:lnTo>
                <a:lnTo>
                  <a:pt x="7569200" y="673100"/>
                </a:lnTo>
                <a:lnTo>
                  <a:pt x="7566025" y="744537"/>
                </a:lnTo>
                <a:lnTo>
                  <a:pt x="7558087" y="801687"/>
                </a:lnTo>
                <a:lnTo>
                  <a:pt x="7546975" y="854075"/>
                </a:lnTo>
                <a:lnTo>
                  <a:pt x="7532687" y="901700"/>
                </a:lnTo>
                <a:lnTo>
                  <a:pt x="7516812" y="942975"/>
                </a:lnTo>
                <a:lnTo>
                  <a:pt x="7497762" y="981075"/>
                </a:lnTo>
                <a:lnTo>
                  <a:pt x="7478712" y="1017587"/>
                </a:lnTo>
                <a:lnTo>
                  <a:pt x="7459662" y="1055687"/>
                </a:lnTo>
                <a:lnTo>
                  <a:pt x="7442200" y="1095375"/>
                </a:lnTo>
                <a:lnTo>
                  <a:pt x="7424737" y="1136650"/>
                </a:lnTo>
                <a:lnTo>
                  <a:pt x="7410450" y="1182687"/>
                </a:lnTo>
                <a:lnTo>
                  <a:pt x="7400925" y="1235075"/>
                </a:lnTo>
                <a:lnTo>
                  <a:pt x="7391400" y="1295400"/>
                </a:lnTo>
                <a:lnTo>
                  <a:pt x="7389812" y="1363662"/>
                </a:lnTo>
                <a:lnTo>
                  <a:pt x="7391400" y="1431925"/>
                </a:lnTo>
                <a:lnTo>
                  <a:pt x="7400925" y="1492250"/>
                </a:lnTo>
                <a:lnTo>
                  <a:pt x="7410450" y="1544637"/>
                </a:lnTo>
                <a:lnTo>
                  <a:pt x="7424737" y="1589087"/>
                </a:lnTo>
                <a:lnTo>
                  <a:pt x="7442200" y="1631950"/>
                </a:lnTo>
                <a:lnTo>
                  <a:pt x="7459662" y="1671637"/>
                </a:lnTo>
                <a:lnTo>
                  <a:pt x="7478712" y="1708150"/>
                </a:lnTo>
                <a:lnTo>
                  <a:pt x="7497762" y="1743075"/>
                </a:lnTo>
                <a:lnTo>
                  <a:pt x="7516812" y="1782762"/>
                </a:lnTo>
                <a:lnTo>
                  <a:pt x="7532687" y="1824037"/>
                </a:lnTo>
                <a:lnTo>
                  <a:pt x="7546975" y="1870075"/>
                </a:lnTo>
                <a:lnTo>
                  <a:pt x="7558087" y="1922462"/>
                </a:lnTo>
                <a:lnTo>
                  <a:pt x="7566025" y="1982787"/>
                </a:lnTo>
                <a:lnTo>
                  <a:pt x="7569200" y="2051050"/>
                </a:lnTo>
                <a:lnTo>
                  <a:pt x="7566025" y="2119312"/>
                </a:lnTo>
                <a:lnTo>
                  <a:pt x="7558087" y="2179637"/>
                </a:lnTo>
                <a:lnTo>
                  <a:pt x="7546975" y="2232025"/>
                </a:lnTo>
                <a:lnTo>
                  <a:pt x="7532687" y="2278062"/>
                </a:lnTo>
                <a:lnTo>
                  <a:pt x="7516812" y="2319337"/>
                </a:lnTo>
                <a:lnTo>
                  <a:pt x="7497762" y="2359025"/>
                </a:lnTo>
                <a:lnTo>
                  <a:pt x="7478712" y="2395537"/>
                </a:lnTo>
                <a:lnTo>
                  <a:pt x="7459662" y="2433637"/>
                </a:lnTo>
                <a:lnTo>
                  <a:pt x="7442200" y="2471737"/>
                </a:lnTo>
                <a:lnTo>
                  <a:pt x="7424737" y="2513012"/>
                </a:lnTo>
                <a:lnTo>
                  <a:pt x="7410450" y="2560637"/>
                </a:lnTo>
                <a:lnTo>
                  <a:pt x="7400925" y="2613025"/>
                </a:lnTo>
                <a:lnTo>
                  <a:pt x="7391400" y="2671762"/>
                </a:lnTo>
                <a:lnTo>
                  <a:pt x="7389812" y="2741612"/>
                </a:lnTo>
                <a:lnTo>
                  <a:pt x="7391400" y="2809875"/>
                </a:lnTo>
                <a:lnTo>
                  <a:pt x="7400925" y="2868612"/>
                </a:lnTo>
                <a:lnTo>
                  <a:pt x="7410450" y="2922587"/>
                </a:lnTo>
                <a:lnTo>
                  <a:pt x="7424737" y="2967037"/>
                </a:lnTo>
                <a:lnTo>
                  <a:pt x="7442200" y="3009900"/>
                </a:lnTo>
                <a:lnTo>
                  <a:pt x="7459662" y="3046412"/>
                </a:lnTo>
                <a:lnTo>
                  <a:pt x="7478712" y="3084512"/>
                </a:lnTo>
                <a:lnTo>
                  <a:pt x="7497762" y="3121025"/>
                </a:lnTo>
                <a:lnTo>
                  <a:pt x="7516812" y="3160712"/>
                </a:lnTo>
                <a:lnTo>
                  <a:pt x="7532687" y="3201987"/>
                </a:lnTo>
                <a:lnTo>
                  <a:pt x="7546975" y="3248025"/>
                </a:lnTo>
                <a:lnTo>
                  <a:pt x="7558087" y="3300412"/>
                </a:lnTo>
                <a:lnTo>
                  <a:pt x="7566025" y="3360737"/>
                </a:lnTo>
                <a:lnTo>
                  <a:pt x="7569200" y="3427412"/>
                </a:lnTo>
                <a:lnTo>
                  <a:pt x="7566025" y="3497262"/>
                </a:lnTo>
                <a:lnTo>
                  <a:pt x="7558087" y="3557587"/>
                </a:lnTo>
                <a:lnTo>
                  <a:pt x="7546975" y="3609975"/>
                </a:lnTo>
                <a:lnTo>
                  <a:pt x="7532687" y="3656012"/>
                </a:lnTo>
                <a:lnTo>
                  <a:pt x="7516812" y="3697287"/>
                </a:lnTo>
                <a:lnTo>
                  <a:pt x="7497762" y="3736975"/>
                </a:lnTo>
                <a:lnTo>
                  <a:pt x="7459662" y="3811587"/>
                </a:lnTo>
                <a:lnTo>
                  <a:pt x="7442200" y="3848100"/>
                </a:lnTo>
                <a:lnTo>
                  <a:pt x="7424737" y="3890962"/>
                </a:lnTo>
                <a:lnTo>
                  <a:pt x="7410450" y="3935412"/>
                </a:lnTo>
                <a:lnTo>
                  <a:pt x="7400925" y="3987800"/>
                </a:lnTo>
                <a:lnTo>
                  <a:pt x="7391400" y="4048125"/>
                </a:lnTo>
                <a:lnTo>
                  <a:pt x="7389812" y="4116387"/>
                </a:lnTo>
                <a:lnTo>
                  <a:pt x="7391400" y="4186237"/>
                </a:lnTo>
                <a:lnTo>
                  <a:pt x="7400925" y="4244975"/>
                </a:lnTo>
                <a:lnTo>
                  <a:pt x="7410450" y="4297362"/>
                </a:lnTo>
                <a:lnTo>
                  <a:pt x="7424737" y="4343400"/>
                </a:lnTo>
                <a:lnTo>
                  <a:pt x="7442200" y="4386262"/>
                </a:lnTo>
                <a:lnTo>
                  <a:pt x="7459662" y="4424362"/>
                </a:lnTo>
                <a:lnTo>
                  <a:pt x="7497762" y="4498975"/>
                </a:lnTo>
                <a:lnTo>
                  <a:pt x="7516812" y="4537075"/>
                </a:lnTo>
                <a:lnTo>
                  <a:pt x="7532687" y="4579937"/>
                </a:lnTo>
                <a:lnTo>
                  <a:pt x="7546975" y="4625975"/>
                </a:lnTo>
                <a:lnTo>
                  <a:pt x="7558087" y="4678362"/>
                </a:lnTo>
                <a:lnTo>
                  <a:pt x="7566025" y="4738687"/>
                </a:lnTo>
                <a:lnTo>
                  <a:pt x="7569200" y="4806950"/>
                </a:lnTo>
                <a:lnTo>
                  <a:pt x="7566025" y="4875212"/>
                </a:lnTo>
                <a:lnTo>
                  <a:pt x="7558087" y="4935537"/>
                </a:lnTo>
                <a:lnTo>
                  <a:pt x="7546975" y="4987925"/>
                </a:lnTo>
                <a:lnTo>
                  <a:pt x="7532687" y="5033962"/>
                </a:lnTo>
                <a:lnTo>
                  <a:pt x="7516812" y="5075237"/>
                </a:lnTo>
                <a:lnTo>
                  <a:pt x="7497762" y="5114925"/>
                </a:lnTo>
                <a:lnTo>
                  <a:pt x="7478712" y="5149850"/>
                </a:lnTo>
                <a:lnTo>
                  <a:pt x="7459662" y="5186362"/>
                </a:lnTo>
                <a:lnTo>
                  <a:pt x="7442200" y="5226050"/>
                </a:lnTo>
                <a:lnTo>
                  <a:pt x="7424737" y="5268912"/>
                </a:lnTo>
                <a:lnTo>
                  <a:pt x="7410450" y="5313362"/>
                </a:lnTo>
                <a:lnTo>
                  <a:pt x="7400925" y="5365750"/>
                </a:lnTo>
                <a:lnTo>
                  <a:pt x="7391400" y="5426075"/>
                </a:lnTo>
                <a:lnTo>
                  <a:pt x="7389812" y="5494337"/>
                </a:lnTo>
                <a:lnTo>
                  <a:pt x="7391400" y="5562600"/>
                </a:lnTo>
                <a:lnTo>
                  <a:pt x="7400925" y="5622925"/>
                </a:lnTo>
                <a:lnTo>
                  <a:pt x="7410450" y="5675312"/>
                </a:lnTo>
                <a:lnTo>
                  <a:pt x="7424737" y="5721350"/>
                </a:lnTo>
                <a:lnTo>
                  <a:pt x="7442200" y="5762625"/>
                </a:lnTo>
                <a:lnTo>
                  <a:pt x="7459662" y="5802312"/>
                </a:lnTo>
                <a:lnTo>
                  <a:pt x="7478712" y="5840412"/>
                </a:lnTo>
                <a:lnTo>
                  <a:pt x="7497762" y="5876925"/>
                </a:lnTo>
                <a:lnTo>
                  <a:pt x="7516812" y="5915025"/>
                </a:lnTo>
                <a:lnTo>
                  <a:pt x="7532687" y="5956300"/>
                </a:lnTo>
                <a:lnTo>
                  <a:pt x="7546975" y="6003925"/>
                </a:lnTo>
                <a:lnTo>
                  <a:pt x="7558087" y="6056312"/>
                </a:lnTo>
                <a:lnTo>
                  <a:pt x="7566025" y="6113462"/>
                </a:lnTo>
                <a:lnTo>
                  <a:pt x="7569200" y="6183312"/>
                </a:lnTo>
                <a:lnTo>
                  <a:pt x="7566025" y="6251575"/>
                </a:lnTo>
                <a:lnTo>
                  <a:pt x="7558087" y="6311900"/>
                </a:lnTo>
                <a:lnTo>
                  <a:pt x="7546975" y="6361112"/>
                </a:lnTo>
                <a:lnTo>
                  <a:pt x="7532687" y="6407150"/>
                </a:lnTo>
                <a:lnTo>
                  <a:pt x="7516812" y="6448425"/>
                </a:lnTo>
                <a:lnTo>
                  <a:pt x="7499350" y="6488112"/>
                </a:lnTo>
                <a:lnTo>
                  <a:pt x="7481887" y="6523037"/>
                </a:lnTo>
                <a:lnTo>
                  <a:pt x="7462837" y="6561137"/>
                </a:lnTo>
                <a:lnTo>
                  <a:pt x="7443787" y="6597650"/>
                </a:lnTo>
                <a:lnTo>
                  <a:pt x="7427912" y="6640512"/>
                </a:lnTo>
                <a:lnTo>
                  <a:pt x="7412037" y="6683375"/>
                </a:lnTo>
                <a:lnTo>
                  <a:pt x="7402512" y="6735762"/>
                </a:lnTo>
                <a:lnTo>
                  <a:pt x="7394575" y="6791325"/>
                </a:lnTo>
                <a:lnTo>
                  <a:pt x="7389812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4BD2064-10D3-4385-875A-1BF95E892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051" y="382385"/>
            <a:ext cx="6015897" cy="1492132"/>
          </a:xfrm>
        </p:spPr>
        <p:txBody>
          <a:bodyPr>
            <a:normAutofit/>
          </a:bodyPr>
          <a:lstStyle/>
          <a:p>
            <a:r>
              <a:rPr lang="pt-BR"/>
              <a:t>Resolução do </a:t>
            </a:r>
            <a:r>
              <a:rPr lang="pt-BR" err="1"/>
              <a:t>pROBLEMA</a:t>
            </a:r>
            <a:endParaRPr lang="pt-B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A0382D1-1594-4E3D-842E-04E1E5E757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6D53E6D-0D24-4B25-A24B-893635D638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051" y="2286001"/>
            <a:ext cx="6015897" cy="3593591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Projeto para  recomendação Vendas Adicional</a:t>
            </a:r>
          </a:p>
          <a:p>
            <a:pPr marL="0" indent="0">
              <a:buNone/>
            </a:pPr>
            <a:endParaRPr lang="pt-BR" dirty="0"/>
          </a:p>
          <a:p>
            <a:r>
              <a:rPr lang="pt-BR" dirty="0"/>
              <a:t>Iremos recomendar produtos Ambev para o Aplicativo </a:t>
            </a:r>
            <a:r>
              <a:rPr lang="pt-BR" dirty="0" err="1"/>
              <a:t>Bees</a:t>
            </a:r>
            <a:r>
              <a:rPr lang="pt-BR" dirty="0"/>
              <a:t>, através dos seguintes tipos de recomendações:</a:t>
            </a:r>
          </a:p>
          <a:p>
            <a:endParaRPr lang="pt-BR" dirty="0"/>
          </a:p>
          <a:p>
            <a:pPr marL="457200" indent="-457200">
              <a:buFont typeface="+mj-lt"/>
              <a:buAutoNum type="arabicPeriod"/>
            </a:pPr>
            <a:r>
              <a:rPr lang="pt-BR" dirty="0"/>
              <a:t>Recomendação a Priori (lógica proposicional)</a:t>
            </a:r>
          </a:p>
          <a:p>
            <a:pPr marL="457200" indent="-457200">
              <a:buFont typeface="+mj-lt"/>
              <a:buAutoNum type="arabicPeriod"/>
            </a:pPr>
            <a:r>
              <a:rPr lang="pt-BR" dirty="0"/>
              <a:t>Recomendação Direta</a:t>
            </a:r>
          </a:p>
          <a:p>
            <a:pPr marL="457200" indent="-457200">
              <a:buFont typeface="+mj-lt"/>
              <a:buAutoNum type="arabicPeriod"/>
            </a:pPr>
            <a:r>
              <a:rPr lang="pt-BR" dirty="0"/>
              <a:t>Recomendação Sazonal</a:t>
            </a:r>
          </a:p>
          <a:p>
            <a:pPr marL="457200" indent="-457200">
              <a:buFont typeface="+mj-lt"/>
              <a:buAutoNum type="arabicPeriod"/>
            </a:pPr>
            <a:endParaRPr lang="pt-BR" dirty="0"/>
          </a:p>
          <a:p>
            <a:r>
              <a:rPr lang="pt-BR" dirty="0"/>
              <a:t>Análise de canibalização de mercado </a:t>
            </a:r>
          </a:p>
          <a:p>
            <a:pPr marL="0" indent="0">
              <a:buNone/>
            </a:pPr>
            <a:endParaRPr lang="pt-BR" dirty="0"/>
          </a:p>
          <a:p>
            <a:pPr marL="457200" indent="-457200">
              <a:buFont typeface="+mj-lt"/>
              <a:buAutoNum type="arabicPeriod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23960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28" name="Rectangle 72">
            <a:extLst>
              <a:ext uri="{FF2B5EF4-FFF2-40B4-BE49-F238E27FC236}">
                <a16:creationId xmlns:a16="http://schemas.microsoft.com/office/drawing/2014/main" id="{7C615D28-8D37-47CB-9D5B-9ACFDA308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CF64C52-9676-441F-B5F6-91B250D1C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800" y="804335"/>
            <a:ext cx="4232333" cy="1681709"/>
          </a:xfrm>
        </p:spPr>
        <p:txBody>
          <a:bodyPr anchor="ctr">
            <a:normAutofit/>
          </a:bodyPr>
          <a:lstStyle/>
          <a:p>
            <a:r>
              <a:rPr lang="pt-BR" sz="4800"/>
              <a:t>Envolvidos na solução</a:t>
            </a:r>
          </a:p>
        </p:txBody>
      </p:sp>
      <p:sp>
        <p:nvSpPr>
          <p:cNvPr id="1029" name="Freeform: Shape 74">
            <a:extLst>
              <a:ext uri="{FF2B5EF4-FFF2-40B4-BE49-F238E27FC236}">
                <a16:creationId xmlns:a16="http://schemas.microsoft.com/office/drawing/2014/main" id="{826DFDB9-08FE-4B26-8D4D-91B23D8FBA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0" y="0"/>
            <a:ext cx="672465" cy="6858000"/>
          </a:xfrm>
          <a:custGeom>
            <a:avLst/>
            <a:gdLst>
              <a:gd name="connsiteX0" fmla="*/ 0 w 672465"/>
              <a:gd name="connsiteY0" fmla="*/ 0 h 6858000"/>
              <a:gd name="connsiteX1" fmla="*/ 496253 w 672465"/>
              <a:gd name="connsiteY1" fmla="*/ 0 h 6858000"/>
              <a:gd name="connsiteX2" fmla="*/ 497840 w 672465"/>
              <a:gd name="connsiteY2" fmla="*/ 68263 h 6858000"/>
              <a:gd name="connsiteX3" fmla="*/ 505778 w 672465"/>
              <a:gd name="connsiteY3" fmla="*/ 128588 h 6858000"/>
              <a:gd name="connsiteX4" fmla="*/ 516890 w 672465"/>
              <a:gd name="connsiteY4" fmla="*/ 180975 h 6858000"/>
              <a:gd name="connsiteX5" fmla="*/ 531178 w 672465"/>
              <a:gd name="connsiteY5" fmla="*/ 227013 h 6858000"/>
              <a:gd name="connsiteX6" fmla="*/ 547053 w 672465"/>
              <a:gd name="connsiteY6" fmla="*/ 268288 h 6858000"/>
              <a:gd name="connsiteX7" fmla="*/ 566103 w 672465"/>
              <a:gd name="connsiteY7" fmla="*/ 304800 h 6858000"/>
              <a:gd name="connsiteX8" fmla="*/ 585153 w 672465"/>
              <a:gd name="connsiteY8" fmla="*/ 342900 h 6858000"/>
              <a:gd name="connsiteX9" fmla="*/ 604203 w 672465"/>
              <a:gd name="connsiteY9" fmla="*/ 381000 h 6858000"/>
              <a:gd name="connsiteX10" fmla="*/ 620078 w 672465"/>
              <a:gd name="connsiteY10" fmla="*/ 417513 h 6858000"/>
              <a:gd name="connsiteX11" fmla="*/ 635953 w 672465"/>
              <a:gd name="connsiteY11" fmla="*/ 458788 h 6858000"/>
              <a:gd name="connsiteX12" fmla="*/ 651828 w 672465"/>
              <a:gd name="connsiteY12" fmla="*/ 504825 h 6858000"/>
              <a:gd name="connsiteX13" fmla="*/ 662940 w 672465"/>
              <a:gd name="connsiteY13" fmla="*/ 557213 h 6858000"/>
              <a:gd name="connsiteX14" fmla="*/ 669290 w 672465"/>
              <a:gd name="connsiteY14" fmla="*/ 617538 h 6858000"/>
              <a:gd name="connsiteX15" fmla="*/ 672465 w 672465"/>
              <a:gd name="connsiteY15" fmla="*/ 685800 h 6858000"/>
              <a:gd name="connsiteX16" fmla="*/ 669290 w 672465"/>
              <a:gd name="connsiteY16" fmla="*/ 754063 h 6858000"/>
              <a:gd name="connsiteX17" fmla="*/ 662940 w 672465"/>
              <a:gd name="connsiteY17" fmla="*/ 814388 h 6858000"/>
              <a:gd name="connsiteX18" fmla="*/ 651828 w 672465"/>
              <a:gd name="connsiteY18" fmla="*/ 866775 h 6858000"/>
              <a:gd name="connsiteX19" fmla="*/ 635953 w 672465"/>
              <a:gd name="connsiteY19" fmla="*/ 912813 h 6858000"/>
              <a:gd name="connsiteX20" fmla="*/ 620078 w 672465"/>
              <a:gd name="connsiteY20" fmla="*/ 954088 h 6858000"/>
              <a:gd name="connsiteX21" fmla="*/ 604203 w 672465"/>
              <a:gd name="connsiteY21" fmla="*/ 990600 h 6858000"/>
              <a:gd name="connsiteX22" fmla="*/ 585153 w 672465"/>
              <a:gd name="connsiteY22" fmla="*/ 1028700 h 6858000"/>
              <a:gd name="connsiteX23" fmla="*/ 566103 w 672465"/>
              <a:gd name="connsiteY23" fmla="*/ 1066800 h 6858000"/>
              <a:gd name="connsiteX24" fmla="*/ 547053 w 672465"/>
              <a:gd name="connsiteY24" fmla="*/ 1103313 h 6858000"/>
              <a:gd name="connsiteX25" fmla="*/ 531178 w 672465"/>
              <a:gd name="connsiteY25" fmla="*/ 1144588 h 6858000"/>
              <a:gd name="connsiteX26" fmla="*/ 516890 w 672465"/>
              <a:gd name="connsiteY26" fmla="*/ 1190625 h 6858000"/>
              <a:gd name="connsiteX27" fmla="*/ 505778 w 672465"/>
              <a:gd name="connsiteY27" fmla="*/ 1243013 h 6858000"/>
              <a:gd name="connsiteX28" fmla="*/ 497840 w 672465"/>
              <a:gd name="connsiteY28" fmla="*/ 1303338 h 6858000"/>
              <a:gd name="connsiteX29" fmla="*/ 496253 w 672465"/>
              <a:gd name="connsiteY29" fmla="*/ 1371600 h 6858000"/>
              <a:gd name="connsiteX30" fmla="*/ 497840 w 672465"/>
              <a:gd name="connsiteY30" fmla="*/ 1439863 h 6858000"/>
              <a:gd name="connsiteX31" fmla="*/ 505778 w 672465"/>
              <a:gd name="connsiteY31" fmla="*/ 1500188 h 6858000"/>
              <a:gd name="connsiteX32" fmla="*/ 516890 w 672465"/>
              <a:gd name="connsiteY32" fmla="*/ 1552575 h 6858000"/>
              <a:gd name="connsiteX33" fmla="*/ 531178 w 672465"/>
              <a:gd name="connsiteY33" fmla="*/ 1598613 h 6858000"/>
              <a:gd name="connsiteX34" fmla="*/ 547053 w 672465"/>
              <a:gd name="connsiteY34" fmla="*/ 1639888 h 6858000"/>
              <a:gd name="connsiteX35" fmla="*/ 566103 w 672465"/>
              <a:gd name="connsiteY35" fmla="*/ 1676400 h 6858000"/>
              <a:gd name="connsiteX36" fmla="*/ 585153 w 672465"/>
              <a:gd name="connsiteY36" fmla="*/ 1714500 h 6858000"/>
              <a:gd name="connsiteX37" fmla="*/ 604203 w 672465"/>
              <a:gd name="connsiteY37" fmla="*/ 1752600 h 6858000"/>
              <a:gd name="connsiteX38" fmla="*/ 620078 w 672465"/>
              <a:gd name="connsiteY38" fmla="*/ 1789113 h 6858000"/>
              <a:gd name="connsiteX39" fmla="*/ 635953 w 672465"/>
              <a:gd name="connsiteY39" fmla="*/ 1830388 h 6858000"/>
              <a:gd name="connsiteX40" fmla="*/ 651828 w 672465"/>
              <a:gd name="connsiteY40" fmla="*/ 1876425 h 6858000"/>
              <a:gd name="connsiteX41" fmla="*/ 662940 w 672465"/>
              <a:gd name="connsiteY41" fmla="*/ 1928813 h 6858000"/>
              <a:gd name="connsiteX42" fmla="*/ 669290 w 672465"/>
              <a:gd name="connsiteY42" fmla="*/ 1989138 h 6858000"/>
              <a:gd name="connsiteX43" fmla="*/ 672465 w 672465"/>
              <a:gd name="connsiteY43" fmla="*/ 2057400 h 6858000"/>
              <a:gd name="connsiteX44" fmla="*/ 669290 w 672465"/>
              <a:gd name="connsiteY44" fmla="*/ 2125663 h 6858000"/>
              <a:gd name="connsiteX45" fmla="*/ 662940 w 672465"/>
              <a:gd name="connsiteY45" fmla="*/ 2185988 h 6858000"/>
              <a:gd name="connsiteX46" fmla="*/ 651828 w 672465"/>
              <a:gd name="connsiteY46" fmla="*/ 2238375 h 6858000"/>
              <a:gd name="connsiteX47" fmla="*/ 635953 w 672465"/>
              <a:gd name="connsiteY47" fmla="*/ 2284413 h 6858000"/>
              <a:gd name="connsiteX48" fmla="*/ 620078 w 672465"/>
              <a:gd name="connsiteY48" fmla="*/ 2325688 h 6858000"/>
              <a:gd name="connsiteX49" fmla="*/ 604203 w 672465"/>
              <a:gd name="connsiteY49" fmla="*/ 2362200 h 6858000"/>
              <a:gd name="connsiteX50" fmla="*/ 585153 w 672465"/>
              <a:gd name="connsiteY50" fmla="*/ 2400300 h 6858000"/>
              <a:gd name="connsiteX51" fmla="*/ 566103 w 672465"/>
              <a:gd name="connsiteY51" fmla="*/ 2438400 h 6858000"/>
              <a:gd name="connsiteX52" fmla="*/ 547053 w 672465"/>
              <a:gd name="connsiteY52" fmla="*/ 2474913 h 6858000"/>
              <a:gd name="connsiteX53" fmla="*/ 531178 w 672465"/>
              <a:gd name="connsiteY53" fmla="*/ 2516188 h 6858000"/>
              <a:gd name="connsiteX54" fmla="*/ 516890 w 672465"/>
              <a:gd name="connsiteY54" fmla="*/ 2562225 h 6858000"/>
              <a:gd name="connsiteX55" fmla="*/ 505778 w 672465"/>
              <a:gd name="connsiteY55" fmla="*/ 2614613 h 6858000"/>
              <a:gd name="connsiteX56" fmla="*/ 497840 w 672465"/>
              <a:gd name="connsiteY56" fmla="*/ 2674938 h 6858000"/>
              <a:gd name="connsiteX57" fmla="*/ 496253 w 672465"/>
              <a:gd name="connsiteY57" fmla="*/ 2743200 h 6858000"/>
              <a:gd name="connsiteX58" fmla="*/ 497840 w 672465"/>
              <a:gd name="connsiteY58" fmla="*/ 2811463 h 6858000"/>
              <a:gd name="connsiteX59" fmla="*/ 505778 w 672465"/>
              <a:gd name="connsiteY59" fmla="*/ 2871788 h 6858000"/>
              <a:gd name="connsiteX60" fmla="*/ 516890 w 672465"/>
              <a:gd name="connsiteY60" fmla="*/ 2924175 h 6858000"/>
              <a:gd name="connsiteX61" fmla="*/ 531178 w 672465"/>
              <a:gd name="connsiteY61" fmla="*/ 2970213 h 6858000"/>
              <a:gd name="connsiteX62" fmla="*/ 547053 w 672465"/>
              <a:gd name="connsiteY62" fmla="*/ 3011488 h 6858000"/>
              <a:gd name="connsiteX63" fmla="*/ 566103 w 672465"/>
              <a:gd name="connsiteY63" fmla="*/ 3048000 h 6858000"/>
              <a:gd name="connsiteX64" fmla="*/ 585153 w 672465"/>
              <a:gd name="connsiteY64" fmla="*/ 3086100 h 6858000"/>
              <a:gd name="connsiteX65" fmla="*/ 604203 w 672465"/>
              <a:gd name="connsiteY65" fmla="*/ 3124200 h 6858000"/>
              <a:gd name="connsiteX66" fmla="*/ 620078 w 672465"/>
              <a:gd name="connsiteY66" fmla="*/ 3160713 h 6858000"/>
              <a:gd name="connsiteX67" fmla="*/ 635953 w 672465"/>
              <a:gd name="connsiteY67" fmla="*/ 3201988 h 6858000"/>
              <a:gd name="connsiteX68" fmla="*/ 651828 w 672465"/>
              <a:gd name="connsiteY68" fmla="*/ 3248025 h 6858000"/>
              <a:gd name="connsiteX69" fmla="*/ 662940 w 672465"/>
              <a:gd name="connsiteY69" fmla="*/ 3300413 h 6858000"/>
              <a:gd name="connsiteX70" fmla="*/ 669290 w 672465"/>
              <a:gd name="connsiteY70" fmla="*/ 3360738 h 6858000"/>
              <a:gd name="connsiteX71" fmla="*/ 672465 w 672465"/>
              <a:gd name="connsiteY71" fmla="*/ 3427413 h 6858000"/>
              <a:gd name="connsiteX72" fmla="*/ 669290 w 672465"/>
              <a:gd name="connsiteY72" fmla="*/ 3497263 h 6858000"/>
              <a:gd name="connsiteX73" fmla="*/ 662940 w 672465"/>
              <a:gd name="connsiteY73" fmla="*/ 3557588 h 6858000"/>
              <a:gd name="connsiteX74" fmla="*/ 651828 w 672465"/>
              <a:gd name="connsiteY74" fmla="*/ 3609975 h 6858000"/>
              <a:gd name="connsiteX75" fmla="*/ 635953 w 672465"/>
              <a:gd name="connsiteY75" fmla="*/ 3656013 h 6858000"/>
              <a:gd name="connsiteX76" fmla="*/ 620078 w 672465"/>
              <a:gd name="connsiteY76" fmla="*/ 3697288 h 6858000"/>
              <a:gd name="connsiteX77" fmla="*/ 604203 w 672465"/>
              <a:gd name="connsiteY77" fmla="*/ 3733800 h 6858000"/>
              <a:gd name="connsiteX78" fmla="*/ 585153 w 672465"/>
              <a:gd name="connsiteY78" fmla="*/ 3771900 h 6858000"/>
              <a:gd name="connsiteX79" fmla="*/ 566103 w 672465"/>
              <a:gd name="connsiteY79" fmla="*/ 3810000 h 6858000"/>
              <a:gd name="connsiteX80" fmla="*/ 547053 w 672465"/>
              <a:gd name="connsiteY80" fmla="*/ 3846513 h 6858000"/>
              <a:gd name="connsiteX81" fmla="*/ 531178 w 672465"/>
              <a:gd name="connsiteY81" fmla="*/ 3887788 h 6858000"/>
              <a:gd name="connsiteX82" fmla="*/ 516890 w 672465"/>
              <a:gd name="connsiteY82" fmla="*/ 3933825 h 6858000"/>
              <a:gd name="connsiteX83" fmla="*/ 505778 w 672465"/>
              <a:gd name="connsiteY83" fmla="*/ 3986213 h 6858000"/>
              <a:gd name="connsiteX84" fmla="*/ 497840 w 672465"/>
              <a:gd name="connsiteY84" fmla="*/ 4046538 h 6858000"/>
              <a:gd name="connsiteX85" fmla="*/ 496253 w 672465"/>
              <a:gd name="connsiteY85" fmla="*/ 4114800 h 6858000"/>
              <a:gd name="connsiteX86" fmla="*/ 497840 w 672465"/>
              <a:gd name="connsiteY86" fmla="*/ 4183063 h 6858000"/>
              <a:gd name="connsiteX87" fmla="*/ 505778 w 672465"/>
              <a:gd name="connsiteY87" fmla="*/ 4243388 h 6858000"/>
              <a:gd name="connsiteX88" fmla="*/ 516890 w 672465"/>
              <a:gd name="connsiteY88" fmla="*/ 4295775 h 6858000"/>
              <a:gd name="connsiteX89" fmla="*/ 531178 w 672465"/>
              <a:gd name="connsiteY89" fmla="*/ 4341813 h 6858000"/>
              <a:gd name="connsiteX90" fmla="*/ 547053 w 672465"/>
              <a:gd name="connsiteY90" fmla="*/ 4383088 h 6858000"/>
              <a:gd name="connsiteX91" fmla="*/ 566103 w 672465"/>
              <a:gd name="connsiteY91" fmla="*/ 4419600 h 6858000"/>
              <a:gd name="connsiteX92" fmla="*/ 604203 w 672465"/>
              <a:gd name="connsiteY92" fmla="*/ 4495800 h 6858000"/>
              <a:gd name="connsiteX93" fmla="*/ 620078 w 672465"/>
              <a:gd name="connsiteY93" fmla="*/ 4532313 h 6858000"/>
              <a:gd name="connsiteX94" fmla="*/ 635953 w 672465"/>
              <a:gd name="connsiteY94" fmla="*/ 4573588 h 6858000"/>
              <a:gd name="connsiteX95" fmla="*/ 651828 w 672465"/>
              <a:gd name="connsiteY95" fmla="*/ 4619625 h 6858000"/>
              <a:gd name="connsiteX96" fmla="*/ 662940 w 672465"/>
              <a:gd name="connsiteY96" fmla="*/ 4672013 h 6858000"/>
              <a:gd name="connsiteX97" fmla="*/ 669290 w 672465"/>
              <a:gd name="connsiteY97" fmla="*/ 4732338 h 6858000"/>
              <a:gd name="connsiteX98" fmla="*/ 672465 w 672465"/>
              <a:gd name="connsiteY98" fmla="*/ 4800600 h 6858000"/>
              <a:gd name="connsiteX99" fmla="*/ 669290 w 672465"/>
              <a:gd name="connsiteY99" fmla="*/ 4868863 h 6858000"/>
              <a:gd name="connsiteX100" fmla="*/ 662940 w 672465"/>
              <a:gd name="connsiteY100" fmla="*/ 4929188 h 6858000"/>
              <a:gd name="connsiteX101" fmla="*/ 651828 w 672465"/>
              <a:gd name="connsiteY101" fmla="*/ 4981575 h 6858000"/>
              <a:gd name="connsiteX102" fmla="*/ 635953 w 672465"/>
              <a:gd name="connsiteY102" fmla="*/ 5027613 h 6858000"/>
              <a:gd name="connsiteX103" fmla="*/ 620078 w 672465"/>
              <a:gd name="connsiteY103" fmla="*/ 5068888 h 6858000"/>
              <a:gd name="connsiteX104" fmla="*/ 604203 w 672465"/>
              <a:gd name="connsiteY104" fmla="*/ 5105400 h 6858000"/>
              <a:gd name="connsiteX105" fmla="*/ 585153 w 672465"/>
              <a:gd name="connsiteY105" fmla="*/ 5143500 h 6858000"/>
              <a:gd name="connsiteX106" fmla="*/ 566103 w 672465"/>
              <a:gd name="connsiteY106" fmla="*/ 5181600 h 6858000"/>
              <a:gd name="connsiteX107" fmla="*/ 547053 w 672465"/>
              <a:gd name="connsiteY107" fmla="*/ 5218113 h 6858000"/>
              <a:gd name="connsiteX108" fmla="*/ 531178 w 672465"/>
              <a:gd name="connsiteY108" fmla="*/ 5259388 h 6858000"/>
              <a:gd name="connsiteX109" fmla="*/ 516890 w 672465"/>
              <a:gd name="connsiteY109" fmla="*/ 5305425 h 6858000"/>
              <a:gd name="connsiteX110" fmla="*/ 505778 w 672465"/>
              <a:gd name="connsiteY110" fmla="*/ 5357813 h 6858000"/>
              <a:gd name="connsiteX111" fmla="*/ 497840 w 672465"/>
              <a:gd name="connsiteY111" fmla="*/ 5418138 h 6858000"/>
              <a:gd name="connsiteX112" fmla="*/ 496253 w 672465"/>
              <a:gd name="connsiteY112" fmla="*/ 5486400 h 6858000"/>
              <a:gd name="connsiteX113" fmla="*/ 497840 w 672465"/>
              <a:gd name="connsiteY113" fmla="*/ 5554663 h 6858000"/>
              <a:gd name="connsiteX114" fmla="*/ 505778 w 672465"/>
              <a:gd name="connsiteY114" fmla="*/ 5614988 h 6858000"/>
              <a:gd name="connsiteX115" fmla="*/ 516890 w 672465"/>
              <a:gd name="connsiteY115" fmla="*/ 5667375 h 6858000"/>
              <a:gd name="connsiteX116" fmla="*/ 531178 w 672465"/>
              <a:gd name="connsiteY116" fmla="*/ 5713413 h 6858000"/>
              <a:gd name="connsiteX117" fmla="*/ 547053 w 672465"/>
              <a:gd name="connsiteY117" fmla="*/ 5754688 h 6858000"/>
              <a:gd name="connsiteX118" fmla="*/ 566103 w 672465"/>
              <a:gd name="connsiteY118" fmla="*/ 5791200 h 6858000"/>
              <a:gd name="connsiteX119" fmla="*/ 585153 w 672465"/>
              <a:gd name="connsiteY119" fmla="*/ 5829300 h 6858000"/>
              <a:gd name="connsiteX120" fmla="*/ 604203 w 672465"/>
              <a:gd name="connsiteY120" fmla="*/ 5867400 h 6858000"/>
              <a:gd name="connsiteX121" fmla="*/ 620078 w 672465"/>
              <a:gd name="connsiteY121" fmla="*/ 5903913 h 6858000"/>
              <a:gd name="connsiteX122" fmla="*/ 635953 w 672465"/>
              <a:gd name="connsiteY122" fmla="*/ 5945188 h 6858000"/>
              <a:gd name="connsiteX123" fmla="*/ 651828 w 672465"/>
              <a:gd name="connsiteY123" fmla="*/ 5991225 h 6858000"/>
              <a:gd name="connsiteX124" fmla="*/ 662940 w 672465"/>
              <a:gd name="connsiteY124" fmla="*/ 6043613 h 6858000"/>
              <a:gd name="connsiteX125" fmla="*/ 669290 w 672465"/>
              <a:gd name="connsiteY125" fmla="*/ 6103938 h 6858000"/>
              <a:gd name="connsiteX126" fmla="*/ 672465 w 672465"/>
              <a:gd name="connsiteY126" fmla="*/ 6172200 h 6858000"/>
              <a:gd name="connsiteX127" fmla="*/ 669290 w 672465"/>
              <a:gd name="connsiteY127" fmla="*/ 6240463 h 6858000"/>
              <a:gd name="connsiteX128" fmla="*/ 662940 w 672465"/>
              <a:gd name="connsiteY128" fmla="*/ 6300788 h 6858000"/>
              <a:gd name="connsiteX129" fmla="*/ 651828 w 672465"/>
              <a:gd name="connsiteY129" fmla="*/ 6353175 h 6858000"/>
              <a:gd name="connsiteX130" fmla="*/ 635953 w 672465"/>
              <a:gd name="connsiteY130" fmla="*/ 6399213 h 6858000"/>
              <a:gd name="connsiteX131" fmla="*/ 620078 w 672465"/>
              <a:gd name="connsiteY131" fmla="*/ 6440488 h 6858000"/>
              <a:gd name="connsiteX132" fmla="*/ 604203 w 672465"/>
              <a:gd name="connsiteY132" fmla="*/ 6477000 h 6858000"/>
              <a:gd name="connsiteX133" fmla="*/ 585153 w 672465"/>
              <a:gd name="connsiteY133" fmla="*/ 6515100 h 6858000"/>
              <a:gd name="connsiteX134" fmla="*/ 566103 w 672465"/>
              <a:gd name="connsiteY134" fmla="*/ 6553200 h 6858000"/>
              <a:gd name="connsiteX135" fmla="*/ 547053 w 672465"/>
              <a:gd name="connsiteY135" fmla="*/ 6589713 h 6858000"/>
              <a:gd name="connsiteX136" fmla="*/ 531178 w 672465"/>
              <a:gd name="connsiteY136" fmla="*/ 6630988 h 6858000"/>
              <a:gd name="connsiteX137" fmla="*/ 516890 w 672465"/>
              <a:gd name="connsiteY137" fmla="*/ 6677025 h 6858000"/>
              <a:gd name="connsiteX138" fmla="*/ 505778 w 672465"/>
              <a:gd name="connsiteY138" fmla="*/ 6729413 h 6858000"/>
              <a:gd name="connsiteX139" fmla="*/ 497840 w 672465"/>
              <a:gd name="connsiteY139" fmla="*/ 6789738 h 6858000"/>
              <a:gd name="connsiteX140" fmla="*/ 496253 w 672465"/>
              <a:gd name="connsiteY140" fmla="*/ 6858000 h 6858000"/>
              <a:gd name="connsiteX141" fmla="*/ 0 w 672465"/>
              <a:gd name="connsiteY1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672465" h="6858000">
                <a:moveTo>
                  <a:pt x="0" y="0"/>
                </a:moveTo>
                <a:lnTo>
                  <a:pt x="496253" y="0"/>
                </a:lnTo>
                <a:lnTo>
                  <a:pt x="497840" y="68263"/>
                </a:lnTo>
                <a:lnTo>
                  <a:pt x="505778" y="128588"/>
                </a:lnTo>
                <a:lnTo>
                  <a:pt x="516890" y="180975"/>
                </a:lnTo>
                <a:lnTo>
                  <a:pt x="531178" y="227013"/>
                </a:lnTo>
                <a:lnTo>
                  <a:pt x="547053" y="268288"/>
                </a:lnTo>
                <a:lnTo>
                  <a:pt x="566103" y="304800"/>
                </a:lnTo>
                <a:lnTo>
                  <a:pt x="585153" y="342900"/>
                </a:lnTo>
                <a:lnTo>
                  <a:pt x="604203" y="381000"/>
                </a:lnTo>
                <a:lnTo>
                  <a:pt x="620078" y="417513"/>
                </a:lnTo>
                <a:lnTo>
                  <a:pt x="635953" y="458788"/>
                </a:lnTo>
                <a:lnTo>
                  <a:pt x="651828" y="504825"/>
                </a:lnTo>
                <a:lnTo>
                  <a:pt x="662940" y="557213"/>
                </a:lnTo>
                <a:lnTo>
                  <a:pt x="669290" y="617538"/>
                </a:lnTo>
                <a:lnTo>
                  <a:pt x="672465" y="685800"/>
                </a:lnTo>
                <a:lnTo>
                  <a:pt x="669290" y="754063"/>
                </a:lnTo>
                <a:lnTo>
                  <a:pt x="662940" y="814388"/>
                </a:lnTo>
                <a:lnTo>
                  <a:pt x="651828" y="866775"/>
                </a:lnTo>
                <a:lnTo>
                  <a:pt x="635953" y="912813"/>
                </a:lnTo>
                <a:lnTo>
                  <a:pt x="620078" y="954088"/>
                </a:lnTo>
                <a:lnTo>
                  <a:pt x="604203" y="990600"/>
                </a:lnTo>
                <a:lnTo>
                  <a:pt x="585153" y="1028700"/>
                </a:lnTo>
                <a:lnTo>
                  <a:pt x="566103" y="1066800"/>
                </a:lnTo>
                <a:lnTo>
                  <a:pt x="547053" y="1103313"/>
                </a:lnTo>
                <a:lnTo>
                  <a:pt x="531178" y="1144588"/>
                </a:lnTo>
                <a:lnTo>
                  <a:pt x="516890" y="1190625"/>
                </a:lnTo>
                <a:lnTo>
                  <a:pt x="505778" y="1243013"/>
                </a:lnTo>
                <a:lnTo>
                  <a:pt x="497840" y="1303338"/>
                </a:lnTo>
                <a:lnTo>
                  <a:pt x="496253" y="1371600"/>
                </a:lnTo>
                <a:lnTo>
                  <a:pt x="497840" y="1439863"/>
                </a:lnTo>
                <a:lnTo>
                  <a:pt x="505778" y="1500188"/>
                </a:lnTo>
                <a:lnTo>
                  <a:pt x="516890" y="1552575"/>
                </a:lnTo>
                <a:lnTo>
                  <a:pt x="531178" y="1598613"/>
                </a:lnTo>
                <a:lnTo>
                  <a:pt x="547053" y="1639888"/>
                </a:lnTo>
                <a:lnTo>
                  <a:pt x="566103" y="1676400"/>
                </a:lnTo>
                <a:lnTo>
                  <a:pt x="585153" y="1714500"/>
                </a:lnTo>
                <a:lnTo>
                  <a:pt x="604203" y="1752600"/>
                </a:lnTo>
                <a:lnTo>
                  <a:pt x="620078" y="1789113"/>
                </a:lnTo>
                <a:lnTo>
                  <a:pt x="635953" y="1830388"/>
                </a:lnTo>
                <a:lnTo>
                  <a:pt x="651828" y="1876425"/>
                </a:lnTo>
                <a:lnTo>
                  <a:pt x="662940" y="1928813"/>
                </a:lnTo>
                <a:lnTo>
                  <a:pt x="669290" y="1989138"/>
                </a:lnTo>
                <a:lnTo>
                  <a:pt x="672465" y="2057400"/>
                </a:lnTo>
                <a:lnTo>
                  <a:pt x="669290" y="2125663"/>
                </a:lnTo>
                <a:lnTo>
                  <a:pt x="662940" y="2185988"/>
                </a:lnTo>
                <a:lnTo>
                  <a:pt x="651828" y="2238375"/>
                </a:lnTo>
                <a:lnTo>
                  <a:pt x="635953" y="2284413"/>
                </a:lnTo>
                <a:lnTo>
                  <a:pt x="620078" y="2325688"/>
                </a:lnTo>
                <a:lnTo>
                  <a:pt x="604203" y="2362200"/>
                </a:lnTo>
                <a:lnTo>
                  <a:pt x="585153" y="2400300"/>
                </a:lnTo>
                <a:lnTo>
                  <a:pt x="566103" y="2438400"/>
                </a:lnTo>
                <a:lnTo>
                  <a:pt x="547053" y="2474913"/>
                </a:lnTo>
                <a:lnTo>
                  <a:pt x="531178" y="2516188"/>
                </a:lnTo>
                <a:lnTo>
                  <a:pt x="516890" y="2562225"/>
                </a:lnTo>
                <a:lnTo>
                  <a:pt x="505778" y="2614613"/>
                </a:lnTo>
                <a:lnTo>
                  <a:pt x="497840" y="2674938"/>
                </a:lnTo>
                <a:lnTo>
                  <a:pt x="496253" y="2743200"/>
                </a:lnTo>
                <a:lnTo>
                  <a:pt x="497840" y="2811463"/>
                </a:lnTo>
                <a:lnTo>
                  <a:pt x="505778" y="2871788"/>
                </a:lnTo>
                <a:lnTo>
                  <a:pt x="516890" y="2924175"/>
                </a:lnTo>
                <a:lnTo>
                  <a:pt x="531178" y="2970213"/>
                </a:lnTo>
                <a:lnTo>
                  <a:pt x="547053" y="3011488"/>
                </a:lnTo>
                <a:lnTo>
                  <a:pt x="566103" y="3048000"/>
                </a:lnTo>
                <a:lnTo>
                  <a:pt x="585153" y="3086100"/>
                </a:lnTo>
                <a:lnTo>
                  <a:pt x="604203" y="3124200"/>
                </a:lnTo>
                <a:lnTo>
                  <a:pt x="620078" y="3160713"/>
                </a:lnTo>
                <a:lnTo>
                  <a:pt x="635953" y="3201988"/>
                </a:lnTo>
                <a:lnTo>
                  <a:pt x="651828" y="3248025"/>
                </a:lnTo>
                <a:lnTo>
                  <a:pt x="662940" y="3300413"/>
                </a:lnTo>
                <a:lnTo>
                  <a:pt x="669290" y="3360738"/>
                </a:lnTo>
                <a:lnTo>
                  <a:pt x="672465" y="3427413"/>
                </a:lnTo>
                <a:lnTo>
                  <a:pt x="669290" y="3497263"/>
                </a:lnTo>
                <a:lnTo>
                  <a:pt x="662940" y="3557588"/>
                </a:lnTo>
                <a:lnTo>
                  <a:pt x="651828" y="3609975"/>
                </a:lnTo>
                <a:lnTo>
                  <a:pt x="635953" y="3656013"/>
                </a:lnTo>
                <a:lnTo>
                  <a:pt x="620078" y="3697288"/>
                </a:lnTo>
                <a:lnTo>
                  <a:pt x="604203" y="3733800"/>
                </a:lnTo>
                <a:lnTo>
                  <a:pt x="585153" y="3771900"/>
                </a:lnTo>
                <a:lnTo>
                  <a:pt x="566103" y="3810000"/>
                </a:lnTo>
                <a:lnTo>
                  <a:pt x="547053" y="3846513"/>
                </a:lnTo>
                <a:lnTo>
                  <a:pt x="531178" y="3887788"/>
                </a:lnTo>
                <a:lnTo>
                  <a:pt x="516890" y="3933825"/>
                </a:lnTo>
                <a:lnTo>
                  <a:pt x="505778" y="3986213"/>
                </a:lnTo>
                <a:lnTo>
                  <a:pt x="497840" y="4046538"/>
                </a:lnTo>
                <a:lnTo>
                  <a:pt x="496253" y="4114800"/>
                </a:lnTo>
                <a:lnTo>
                  <a:pt x="497840" y="4183063"/>
                </a:lnTo>
                <a:lnTo>
                  <a:pt x="505778" y="4243388"/>
                </a:lnTo>
                <a:lnTo>
                  <a:pt x="516890" y="4295775"/>
                </a:lnTo>
                <a:lnTo>
                  <a:pt x="531178" y="4341813"/>
                </a:lnTo>
                <a:lnTo>
                  <a:pt x="547053" y="4383088"/>
                </a:lnTo>
                <a:lnTo>
                  <a:pt x="566103" y="4419600"/>
                </a:lnTo>
                <a:lnTo>
                  <a:pt x="604203" y="4495800"/>
                </a:lnTo>
                <a:lnTo>
                  <a:pt x="620078" y="4532313"/>
                </a:lnTo>
                <a:lnTo>
                  <a:pt x="635953" y="4573588"/>
                </a:lnTo>
                <a:lnTo>
                  <a:pt x="651828" y="4619625"/>
                </a:lnTo>
                <a:lnTo>
                  <a:pt x="662940" y="4672013"/>
                </a:lnTo>
                <a:lnTo>
                  <a:pt x="669290" y="4732338"/>
                </a:lnTo>
                <a:lnTo>
                  <a:pt x="672465" y="4800600"/>
                </a:lnTo>
                <a:lnTo>
                  <a:pt x="669290" y="4868863"/>
                </a:lnTo>
                <a:lnTo>
                  <a:pt x="662940" y="4929188"/>
                </a:lnTo>
                <a:lnTo>
                  <a:pt x="651828" y="4981575"/>
                </a:lnTo>
                <a:lnTo>
                  <a:pt x="635953" y="5027613"/>
                </a:lnTo>
                <a:lnTo>
                  <a:pt x="620078" y="5068888"/>
                </a:lnTo>
                <a:lnTo>
                  <a:pt x="604203" y="5105400"/>
                </a:lnTo>
                <a:lnTo>
                  <a:pt x="585153" y="5143500"/>
                </a:lnTo>
                <a:lnTo>
                  <a:pt x="566103" y="5181600"/>
                </a:lnTo>
                <a:lnTo>
                  <a:pt x="547053" y="5218113"/>
                </a:lnTo>
                <a:lnTo>
                  <a:pt x="531178" y="5259388"/>
                </a:lnTo>
                <a:lnTo>
                  <a:pt x="516890" y="5305425"/>
                </a:lnTo>
                <a:lnTo>
                  <a:pt x="505778" y="5357813"/>
                </a:lnTo>
                <a:lnTo>
                  <a:pt x="497840" y="5418138"/>
                </a:lnTo>
                <a:lnTo>
                  <a:pt x="496253" y="5486400"/>
                </a:lnTo>
                <a:lnTo>
                  <a:pt x="497840" y="5554663"/>
                </a:lnTo>
                <a:lnTo>
                  <a:pt x="505778" y="5614988"/>
                </a:lnTo>
                <a:lnTo>
                  <a:pt x="516890" y="5667375"/>
                </a:lnTo>
                <a:lnTo>
                  <a:pt x="531178" y="5713413"/>
                </a:lnTo>
                <a:lnTo>
                  <a:pt x="547053" y="5754688"/>
                </a:lnTo>
                <a:lnTo>
                  <a:pt x="566103" y="5791200"/>
                </a:lnTo>
                <a:lnTo>
                  <a:pt x="585153" y="5829300"/>
                </a:lnTo>
                <a:lnTo>
                  <a:pt x="604203" y="5867400"/>
                </a:lnTo>
                <a:lnTo>
                  <a:pt x="620078" y="5903913"/>
                </a:lnTo>
                <a:lnTo>
                  <a:pt x="635953" y="5945188"/>
                </a:lnTo>
                <a:lnTo>
                  <a:pt x="651828" y="5991225"/>
                </a:lnTo>
                <a:lnTo>
                  <a:pt x="662940" y="6043613"/>
                </a:lnTo>
                <a:lnTo>
                  <a:pt x="669290" y="6103938"/>
                </a:lnTo>
                <a:lnTo>
                  <a:pt x="672465" y="6172200"/>
                </a:lnTo>
                <a:lnTo>
                  <a:pt x="669290" y="6240463"/>
                </a:lnTo>
                <a:lnTo>
                  <a:pt x="662940" y="6300788"/>
                </a:lnTo>
                <a:lnTo>
                  <a:pt x="651828" y="6353175"/>
                </a:lnTo>
                <a:lnTo>
                  <a:pt x="635953" y="6399213"/>
                </a:lnTo>
                <a:lnTo>
                  <a:pt x="620078" y="6440488"/>
                </a:lnTo>
                <a:lnTo>
                  <a:pt x="604203" y="6477000"/>
                </a:lnTo>
                <a:lnTo>
                  <a:pt x="585153" y="6515100"/>
                </a:lnTo>
                <a:lnTo>
                  <a:pt x="566103" y="6553200"/>
                </a:lnTo>
                <a:lnTo>
                  <a:pt x="547053" y="6589713"/>
                </a:lnTo>
                <a:lnTo>
                  <a:pt x="531178" y="6630988"/>
                </a:lnTo>
                <a:lnTo>
                  <a:pt x="516890" y="6677025"/>
                </a:lnTo>
                <a:lnTo>
                  <a:pt x="505778" y="6729413"/>
                </a:lnTo>
                <a:lnTo>
                  <a:pt x="497840" y="6789738"/>
                </a:lnTo>
                <a:lnTo>
                  <a:pt x="4962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31" name="Freeform: Shape 76">
            <a:extLst>
              <a:ext uri="{FF2B5EF4-FFF2-40B4-BE49-F238E27FC236}">
                <a16:creationId xmlns:a16="http://schemas.microsoft.com/office/drawing/2014/main" id="{669EB6E3-B389-4409-9000-94D2AF2786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58580" y="325510"/>
            <a:ext cx="2192733" cy="2190068"/>
          </a:xfrm>
          <a:custGeom>
            <a:avLst/>
            <a:gdLst>
              <a:gd name="connsiteX0" fmla="*/ 3095991 w 6191980"/>
              <a:gd name="connsiteY0" fmla="*/ 0 h 6184462"/>
              <a:gd name="connsiteX1" fmla="*/ 3156069 w 6191980"/>
              <a:gd name="connsiteY1" fmla="*/ 5631 h 6184462"/>
              <a:gd name="connsiteX2" fmla="*/ 3214272 w 6191980"/>
              <a:gd name="connsiteY2" fmla="*/ 20652 h 6184462"/>
              <a:gd name="connsiteX3" fmla="*/ 3270598 w 6191980"/>
              <a:gd name="connsiteY3" fmla="*/ 43182 h 6184462"/>
              <a:gd name="connsiteX4" fmla="*/ 3328798 w 6191980"/>
              <a:gd name="connsiteY4" fmla="*/ 71344 h 6184462"/>
              <a:gd name="connsiteX5" fmla="*/ 3383247 w 6191980"/>
              <a:gd name="connsiteY5" fmla="*/ 103262 h 6184462"/>
              <a:gd name="connsiteX6" fmla="*/ 3439573 w 6191980"/>
              <a:gd name="connsiteY6" fmla="*/ 137057 h 6184462"/>
              <a:gd name="connsiteX7" fmla="*/ 3495897 w 6191980"/>
              <a:gd name="connsiteY7" fmla="*/ 167096 h 6184462"/>
              <a:gd name="connsiteX8" fmla="*/ 3552221 w 6191980"/>
              <a:gd name="connsiteY8" fmla="*/ 197137 h 6184462"/>
              <a:gd name="connsiteX9" fmla="*/ 3606669 w 6191980"/>
              <a:gd name="connsiteY9" fmla="*/ 219666 h 6184462"/>
              <a:gd name="connsiteX10" fmla="*/ 3666749 w 6191980"/>
              <a:gd name="connsiteY10" fmla="*/ 234686 h 6184462"/>
              <a:gd name="connsiteX11" fmla="*/ 3724950 w 6191980"/>
              <a:gd name="connsiteY11" fmla="*/ 242197 h 6184462"/>
              <a:gd name="connsiteX12" fmla="*/ 3786907 w 6191980"/>
              <a:gd name="connsiteY12" fmla="*/ 242197 h 6184462"/>
              <a:gd name="connsiteX13" fmla="*/ 3850743 w 6191980"/>
              <a:gd name="connsiteY13" fmla="*/ 238443 h 6184462"/>
              <a:gd name="connsiteX14" fmla="*/ 3914577 w 6191980"/>
              <a:gd name="connsiteY14" fmla="*/ 230932 h 6184462"/>
              <a:gd name="connsiteX15" fmla="*/ 3978413 w 6191980"/>
              <a:gd name="connsiteY15" fmla="*/ 221545 h 6184462"/>
              <a:gd name="connsiteX16" fmla="*/ 4042247 w 6191980"/>
              <a:gd name="connsiteY16" fmla="*/ 214035 h 6184462"/>
              <a:gd name="connsiteX17" fmla="*/ 4106083 w 6191980"/>
              <a:gd name="connsiteY17" fmla="*/ 208401 h 6184462"/>
              <a:gd name="connsiteX18" fmla="*/ 4166161 w 6191980"/>
              <a:gd name="connsiteY18" fmla="*/ 210279 h 6184462"/>
              <a:gd name="connsiteX19" fmla="*/ 4224364 w 6191980"/>
              <a:gd name="connsiteY19" fmla="*/ 217789 h 6184462"/>
              <a:gd name="connsiteX20" fmla="*/ 4280690 w 6191980"/>
              <a:gd name="connsiteY20" fmla="*/ 234686 h 6184462"/>
              <a:gd name="connsiteX21" fmla="*/ 4327628 w 6191980"/>
              <a:gd name="connsiteY21" fmla="*/ 259094 h 6184462"/>
              <a:gd name="connsiteX22" fmla="*/ 4372686 w 6191980"/>
              <a:gd name="connsiteY22" fmla="*/ 291012 h 6184462"/>
              <a:gd name="connsiteX23" fmla="*/ 4412114 w 6191980"/>
              <a:gd name="connsiteY23" fmla="*/ 328561 h 6184462"/>
              <a:gd name="connsiteX24" fmla="*/ 4451542 w 6191980"/>
              <a:gd name="connsiteY24" fmla="*/ 371743 h 6184462"/>
              <a:gd name="connsiteX25" fmla="*/ 4487214 w 6191980"/>
              <a:gd name="connsiteY25" fmla="*/ 416803 h 6184462"/>
              <a:gd name="connsiteX26" fmla="*/ 4522886 w 6191980"/>
              <a:gd name="connsiteY26" fmla="*/ 463741 h 6184462"/>
              <a:gd name="connsiteX27" fmla="*/ 4558559 w 6191980"/>
              <a:gd name="connsiteY27" fmla="*/ 510678 h 6184462"/>
              <a:gd name="connsiteX28" fmla="*/ 4594231 w 6191980"/>
              <a:gd name="connsiteY28" fmla="*/ 555737 h 6184462"/>
              <a:gd name="connsiteX29" fmla="*/ 4631782 w 6191980"/>
              <a:gd name="connsiteY29" fmla="*/ 598919 h 6184462"/>
              <a:gd name="connsiteX30" fmla="*/ 4674964 w 6191980"/>
              <a:gd name="connsiteY30" fmla="*/ 636471 h 6184462"/>
              <a:gd name="connsiteX31" fmla="*/ 4716270 w 6191980"/>
              <a:gd name="connsiteY31" fmla="*/ 670266 h 6184462"/>
              <a:gd name="connsiteX32" fmla="*/ 4763206 w 6191980"/>
              <a:gd name="connsiteY32" fmla="*/ 696549 h 6184462"/>
              <a:gd name="connsiteX33" fmla="*/ 4813899 w 6191980"/>
              <a:gd name="connsiteY33" fmla="*/ 719079 h 6184462"/>
              <a:gd name="connsiteX34" fmla="*/ 4868345 w 6191980"/>
              <a:gd name="connsiteY34" fmla="*/ 737854 h 6184462"/>
              <a:gd name="connsiteX35" fmla="*/ 4924669 w 6191980"/>
              <a:gd name="connsiteY35" fmla="*/ 754751 h 6184462"/>
              <a:gd name="connsiteX36" fmla="*/ 4980995 w 6191980"/>
              <a:gd name="connsiteY36" fmla="*/ 769772 h 6184462"/>
              <a:gd name="connsiteX37" fmla="*/ 5039198 w 6191980"/>
              <a:gd name="connsiteY37" fmla="*/ 784792 h 6184462"/>
              <a:gd name="connsiteX38" fmla="*/ 5093644 w 6191980"/>
              <a:gd name="connsiteY38" fmla="*/ 801690 h 6184462"/>
              <a:gd name="connsiteX39" fmla="*/ 5148091 w 6191980"/>
              <a:gd name="connsiteY39" fmla="*/ 820464 h 6184462"/>
              <a:gd name="connsiteX40" fmla="*/ 5198784 w 6191980"/>
              <a:gd name="connsiteY40" fmla="*/ 842995 h 6184462"/>
              <a:gd name="connsiteX41" fmla="*/ 5243845 w 6191980"/>
              <a:gd name="connsiteY41" fmla="*/ 871157 h 6184462"/>
              <a:gd name="connsiteX42" fmla="*/ 5285151 w 6191980"/>
              <a:gd name="connsiteY42" fmla="*/ 904952 h 6184462"/>
              <a:gd name="connsiteX43" fmla="*/ 5318944 w 6191980"/>
              <a:gd name="connsiteY43" fmla="*/ 946257 h 6184462"/>
              <a:gd name="connsiteX44" fmla="*/ 5347108 w 6191980"/>
              <a:gd name="connsiteY44" fmla="*/ 991317 h 6184462"/>
              <a:gd name="connsiteX45" fmla="*/ 5369636 w 6191980"/>
              <a:gd name="connsiteY45" fmla="*/ 1042007 h 6184462"/>
              <a:gd name="connsiteX46" fmla="*/ 5388410 w 6191980"/>
              <a:gd name="connsiteY46" fmla="*/ 1096456 h 6184462"/>
              <a:gd name="connsiteX47" fmla="*/ 5405308 w 6191980"/>
              <a:gd name="connsiteY47" fmla="*/ 1150903 h 6184462"/>
              <a:gd name="connsiteX48" fmla="*/ 5420328 w 6191980"/>
              <a:gd name="connsiteY48" fmla="*/ 1209105 h 6184462"/>
              <a:gd name="connsiteX49" fmla="*/ 5435349 w 6191980"/>
              <a:gd name="connsiteY49" fmla="*/ 1265429 h 6184462"/>
              <a:gd name="connsiteX50" fmla="*/ 5452246 w 6191980"/>
              <a:gd name="connsiteY50" fmla="*/ 1321755 h 6184462"/>
              <a:gd name="connsiteX51" fmla="*/ 5471021 w 6191980"/>
              <a:gd name="connsiteY51" fmla="*/ 1376203 h 6184462"/>
              <a:gd name="connsiteX52" fmla="*/ 5493550 w 6191980"/>
              <a:gd name="connsiteY52" fmla="*/ 1426896 h 6184462"/>
              <a:gd name="connsiteX53" fmla="*/ 5519836 w 6191980"/>
              <a:gd name="connsiteY53" fmla="*/ 1473832 h 6184462"/>
              <a:gd name="connsiteX54" fmla="*/ 5553632 w 6191980"/>
              <a:gd name="connsiteY54" fmla="*/ 1515138 h 6184462"/>
              <a:gd name="connsiteX55" fmla="*/ 5591181 w 6191980"/>
              <a:gd name="connsiteY55" fmla="*/ 1558320 h 6184462"/>
              <a:gd name="connsiteX56" fmla="*/ 5634364 w 6191980"/>
              <a:gd name="connsiteY56" fmla="*/ 1595869 h 6184462"/>
              <a:gd name="connsiteX57" fmla="*/ 5679425 w 6191980"/>
              <a:gd name="connsiteY57" fmla="*/ 1631541 h 6184462"/>
              <a:gd name="connsiteX58" fmla="*/ 5728238 w 6191980"/>
              <a:gd name="connsiteY58" fmla="*/ 1667213 h 6184462"/>
              <a:gd name="connsiteX59" fmla="*/ 5775175 w 6191980"/>
              <a:gd name="connsiteY59" fmla="*/ 1702885 h 6184462"/>
              <a:gd name="connsiteX60" fmla="*/ 5820236 w 6191980"/>
              <a:gd name="connsiteY60" fmla="*/ 1738560 h 6184462"/>
              <a:gd name="connsiteX61" fmla="*/ 5863416 w 6191980"/>
              <a:gd name="connsiteY61" fmla="*/ 1777986 h 6184462"/>
              <a:gd name="connsiteX62" fmla="*/ 5900968 w 6191980"/>
              <a:gd name="connsiteY62" fmla="*/ 1817414 h 6184462"/>
              <a:gd name="connsiteX63" fmla="*/ 5932886 w 6191980"/>
              <a:gd name="connsiteY63" fmla="*/ 1862474 h 6184462"/>
              <a:gd name="connsiteX64" fmla="*/ 5957294 w 6191980"/>
              <a:gd name="connsiteY64" fmla="*/ 1909410 h 6184462"/>
              <a:gd name="connsiteX65" fmla="*/ 5974191 w 6191980"/>
              <a:gd name="connsiteY65" fmla="*/ 1965736 h 6184462"/>
              <a:gd name="connsiteX66" fmla="*/ 5981700 w 6191980"/>
              <a:gd name="connsiteY66" fmla="*/ 2023938 h 6184462"/>
              <a:gd name="connsiteX67" fmla="*/ 5983578 w 6191980"/>
              <a:gd name="connsiteY67" fmla="*/ 2084018 h 6184462"/>
              <a:gd name="connsiteX68" fmla="*/ 5977945 w 6191980"/>
              <a:gd name="connsiteY68" fmla="*/ 2147852 h 6184462"/>
              <a:gd name="connsiteX69" fmla="*/ 5970435 w 6191980"/>
              <a:gd name="connsiteY69" fmla="*/ 2211686 h 6184462"/>
              <a:gd name="connsiteX70" fmla="*/ 5961048 w 6191980"/>
              <a:gd name="connsiteY70" fmla="*/ 2275522 h 6184462"/>
              <a:gd name="connsiteX71" fmla="*/ 5953538 w 6191980"/>
              <a:gd name="connsiteY71" fmla="*/ 2339356 h 6184462"/>
              <a:gd name="connsiteX72" fmla="*/ 5949784 w 6191980"/>
              <a:gd name="connsiteY72" fmla="*/ 2403192 h 6184462"/>
              <a:gd name="connsiteX73" fmla="*/ 5949784 w 6191980"/>
              <a:gd name="connsiteY73" fmla="*/ 2465149 h 6184462"/>
              <a:gd name="connsiteX74" fmla="*/ 5957294 w 6191980"/>
              <a:gd name="connsiteY74" fmla="*/ 2523350 h 6184462"/>
              <a:gd name="connsiteX75" fmla="*/ 5972312 w 6191980"/>
              <a:gd name="connsiteY75" fmla="*/ 2581552 h 6184462"/>
              <a:gd name="connsiteX76" fmla="*/ 5994843 w 6191980"/>
              <a:gd name="connsiteY76" fmla="*/ 2636001 h 6184462"/>
              <a:gd name="connsiteX77" fmla="*/ 6024884 w 6191980"/>
              <a:gd name="connsiteY77" fmla="*/ 2692325 h 6184462"/>
              <a:gd name="connsiteX78" fmla="*/ 6054922 w 6191980"/>
              <a:gd name="connsiteY78" fmla="*/ 2748651 h 6184462"/>
              <a:gd name="connsiteX79" fmla="*/ 6088718 w 6191980"/>
              <a:gd name="connsiteY79" fmla="*/ 2804974 h 6184462"/>
              <a:gd name="connsiteX80" fmla="*/ 6120634 w 6191980"/>
              <a:gd name="connsiteY80" fmla="*/ 2859423 h 6184462"/>
              <a:gd name="connsiteX81" fmla="*/ 6148798 w 6191980"/>
              <a:gd name="connsiteY81" fmla="*/ 2917624 h 6184462"/>
              <a:gd name="connsiteX82" fmla="*/ 6171326 w 6191980"/>
              <a:gd name="connsiteY82" fmla="*/ 2973950 h 6184462"/>
              <a:gd name="connsiteX83" fmla="*/ 6186347 w 6191980"/>
              <a:gd name="connsiteY83" fmla="*/ 3032152 h 6184462"/>
              <a:gd name="connsiteX84" fmla="*/ 6191980 w 6191980"/>
              <a:gd name="connsiteY84" fmla="*/ 3092230 h 6184462"/>
              <a:gd name="connsiteX85" fmla="*/ 6186347 w 6191980"/>
              <a:gd name="connsiteY85" fmla="*/ 3152310 h 6184462"/>
              <a:gd name="connsiteX86" fmla="*/ 6171326 w 6191980"/>
              <a:gd name="connsiteY86" fmla="*/ 3210513 h 6184462"/>
              <a:gd name="connsiteX87" fmla="*/ 6148798 w 6191980"/>
              <a:gd name="connsiteY87" fmla="*/ 3266839 h 6184462"/>
              <a:gd name="connsiteX88" fmla="*/ 6120634 w 6191980"/>
              <a:gd name="connsiteY88" fmla="*/ 3325039 h 6184462"/>
              <a:gd name="connsiteX89" fmla="*/ 6088718 w 6191980"/>
              <a:gd name="connsiteY89" fmla="*/ 3379488 h 6184462"/>
              <a:gd name="connsiteX90" fmla="*/ 6054922 w 6191980"/>
              <a:gd name="connsiteY90" fmla="*/ 3435814 h 6184462"/>
              <a:gd name="connsiteX91" fmla="*/ 6024884 w 6191980"/>
              <a:gd name="connsiteY91" fmla="*/ 3492137 h 6184462"/>
              <a:gd name="connsiteX92" fmla="*/ 5994843 w 6191980"/>
              <a:gd name="connsiteY92" fmla="*/ 3548461 h 6184462"/>
              <a:gd name="connsiteX93" fmla="*/ 5972312 w 6191980"/>
              <a:gd name="connsiteY93" fmla="*/ 3602910 h 6184462"/>
              <a:gd name="connsiteX94" fmla="*/ 5957294 w 6191980"/>
              <a:gd name="connsiteY94" fmla="*/ 3661113 h 6184462"/>
              <a:gd name="connsiteX95" fmla="*/ 5949784 w 6191980"/>
              <a:gd name="connsiteY95" fmla="*/ 3719313 h 6184462"/>
              <a:gd name="connsiteX96" fmla="*/ 5949784 w 6191980"/>
              <a:gd name="connsiteY96" fmla="*/ 3781272 h 6184462"/>
              <a:gd name="connsiteX97" fmla="*/ 5953538 w 6191980"/>
              <a:gd name="connsiteY97" fmla="*/ 3845106 h 6184462"/>
              <a:gd name="connsiteX98" fmla="*/ 5961048 w 6191980"/>
              <a:gd name="connsiteY98" fmla="*/ 3908940 h 6184462"/>
              <a:gd name="connsiteX99" fmla="*/ 5970435 w 6191980"/>
              <a:gd name="connsiteY99" fmla="*/ 3972776 h 6184462"/>
              <a:gd name="connsiteX100" fmla="*/ 5977945 w 6191980"/>
              <a:gd name="connsiteY100" fmla="*/ 4036610 h 6184462"/>
              <a:gd name="connsiteX101" fmla="*/ 5983578 w 6191980"/>
              <a:gd name="connsiteY101" fmla="*/ 4100444 h 6184462"/>
              <a:gd name="connsiteX102" fmla="*/ 5981700 w 6191980"/>
              <a:gd name="connsiteY102" fmla="*/ 4160526 h 6184462"/>
              <a:gd name="connsiteX103" fmla="*/ 5974191 w 6191980"/>
              <a:gd name="connsiteY103" fmla="*/ 4218729 h 6184462"/>
              <a:gd name="connsiteX104" fmla="*/ 5957294 w 6191980"/>
              <a:gd name="connsiteY104" fmla="*/ 4275053 h 6184462"/>
              <a:gd name="connsiteX105" fmla="*/ 5932886 w 6191980"/>
              <a:gd name="connsiteY105" fmla="*/ 4321989 h 6184462"/>
              <a:gd name="connsiteX106" fmla="*/ 5900968 w 6191980"/>
              <a:gd name="connsiteY106" fmla="*/ 4367050 h 6184462"/>
              <a:gd name="connsiteX107" fmla="*/ 5863416 w 6191980"/>
              <a:gd name="connsiteY107" fmla="*/ 4406477 h 6184462"/>
              <a:gd name="connsiteX108" fmla="*/ 5820236 w 6191980"/>
              <a:gd name="connsiteY108" fmla="*/ 4445903 h 6184462"/>
              <a:gd name="connsiteX109" fmla="*/ 5775175 w 6191980"/>
              <a:gd name="connsiteY109" fmla="*/ 4481577 h 6184462"/>
              <a:gd name="connsiteX110" fmla="*/ 5728238 w 6191980"/>
              <a:gd name="connsiteY110" fmla="*/ 4517249 h 6184462"/>
              <a:gd name="connsiteX111" fmla="*/ 5679425 w 6191980"/>
              <a:gd name="connsiteY111" fmla="*/ 4552921 h 6184462"/>
              <a:gd name="connsiteX112" fmla="*/ 5634364 w 6191980"/>
              <a:gd name="connsiteY112" fmla="*/ 4588593 h 6184462"/>
              <a:gd name="connsiteX113" fmla="*/ 5591181 w 6191980"/>
              <a:gd name="connsiteY113" fmla="*/ 4626142 h 6184462"/>
              <a:gd name="connsiteX114" fmla="*/ 5553632 w 6191980"/>
              <a:gd name="connsiteY114" fmla="*/ 4669325 h 6184462"/>
              <a:gd name="connsiteX115" fmla="*/ 5519836 w 6191980"/>
              <a:gd name="connsiteY115" fmla="*/ 4710630 h 6184462"/>
              <a:gd name="connsiteX116" fmla="*/ 5493550 w 6191980"/>
              <a:gd name="connsiteY116" fmla="*/ 4757566 h 6184462"/>
              <a:gd name="connsiteX117" fmla="*/ 5471021 w 6191980"/>
              <a:gd name="connsiteY117" fmla="*/ 4808259 h 6184462"/>
              <a:gd name="connsiteX118" fmla="*/ 5452246 w 6191980"/>
              <a:gd name="connsiteY118" fmla="*/ 4862708 h 6184462"/>
              <a:gd name="connsiteX119" fmla="*/ 5435349 w 6191980"/>
              <a:gd name="connsiteY119" fmla="*/ 4919033 h 6184462"/>
              <a:gd name="connsiteX120" fmla="*/ 5420328 w 6191980"/>
              <a:gd name="connsiteY120" fmla="*/ 4975357 h 6184462"/>
              <a:gd name="connsiteX121" fmla="*/ 5405308 w 6191980"/>
              <a:gd name="connsiteY121" fmla="*/ 5033560 h 6184462"/>
              <a:gd name="connsiteX122" fmla="*/ 5388410 w 6191980"/>
              <a:gd name="connsiteY122" fmla="*/ 5088007 h 6184462"/>
              <a:gd name="connsiteX123" fmla="*/ 5369636 w 6191980"/>
              <a:gd name="connsiteY123" fmla="*/ 5142453 h 6184462"/>
              <a:gd name="connsiteX124" fmla="*/ 5347108 w 6191980"/>
              <a:gd name="connsiteY124" fmla="*/ 5193146 h 6184462"/>
              <a:gd name="connsiteX125" fmla="*/ 5318944 w 6191980"/>
              <a:gd name="connsiteY125" fmla="*/ 5238207 h 6184462"/>
              <a:gd name="connsiteX126" fmla="*/ 5285151 w 6191980"/>
              <a:gd name="connsiteY126" fmla="*/ 5279510 h 6184462"/>
              <a:gd name="connsiteX127" fmla="*/ 5243845 w 6191980"/>
              <a:gd name="connsiteY127" fmla="*/ 5313305 h 6184462"/>
              <a:gd name="connsiteX128" fmla="*/ 5198784 w 6191980"/>
              <a:gd name="connsiteY128" fmla="*/ 5341467 h 6184462"/>
              <a:gd name="connsiteX129" fmla="*/ 5148091 w 6191980"/>
              <a:gd name="connsiteY129" fmla="*/ 5363998 h 6184462"/>
              <a:gd name="connsiteX130" fmla="*/ 5093644 w 6191980"/>
              <a:gd name="connsiteY130" fmla="*/ 5382773 h 6184462"/>
              <a:gd name="connsiteX131" fmla="*/ 5039198 w 6191980"/>
              <a:gd name="connsiteY131" fmla="*/ 5399670 h 6184462"/>
              <a:gd name="connsiteX132" fmla="*/ 4980995 w 6191980"/>
              <a:gd name="connsiteY132" fmla="*/ 5414691 h 6184462"/>
              <a:gd name="connsiteX133" fmla="*/ 4924669 w 6191980"/>
              <a:gd name="connsiteY133" fmla="*/ 5429711 h 6184462"/>
              <a:gd name="connsiteX134" fmla="*/ 4868345 w 6191980"/>
              <a:gd name="connsiteY134" fmla="*/ 5446609 h 6184462"/>
              <a:gd name="connsiteX135" fmla="*/ 4813899 w 6191980"/>
              <a:gd name="connsiteY135" fmla="*/ 5465383 h 6184462"/>
              <a:gd name="connsiteX136" fmla="*/ 4763206 w 6191980"/>
              <a:gd name="connsiteY136" fmla="*/ 5487914 h 6184462"/>
              <a:gd name="connsiteX137" fmla="*/ 4716270 w 6191980"/>
              <a:gd name="connsiteY137" fmla="*/ 5514197 h 6184462"/>
              <a:gd name="connsiteX138" fmla="*/ 4674964 w 6191980"/>
              <a:gd name="connsiteY138" fmla="*/ 5547992 h 6184462"/>
              <a:gd name="connsiteX139" fmla="*/ 4631782 w 6191980"/>
              <a:gd name="connsiteY139" fmla="*/ 5585543 h 6184462"/>
              <a:gd name="connsiteX140" fmla="*/ 4594231 w 6191980"/>
              <a:gd name="connsiteY140" fmla="*/ 5628725 h 6184462"/>
              <a:gd name="connsiteX141" fmla="*/ 4558559 w 6191980"/>
              <a:gd name="connsiteY141" fmla="*/ 5673785 h 6184462"/>
              <a:gd name="connsiteX142" fmla="*/ 4522886 w 6191980"/>
              <a:gd name="connsiteY142" fmla="*/ 5720721 h 6184462"/>
              <a:gd name="connsiteX143" fmla="*/ 4487214 w 6191980"/>
              <a:gd name="connsiteY143" fmla="*/ 5767659 h 6184462"/>
              <a:gd name="connsiteX144" fmla="*/ 4451542 w 6191980"/>
              <a:gd name="connsiteY144" fmla="*/ 5812719 h 6184462"/>
              <a:gd name="connsiteX145" fmla="*/ 4412114 w 6191980"/>
              <a:gd name="connsiteY145" fmla="*/ 5855901 h 6184462"/>
              <a:gd name="connsiteX146" fmla="*/ 4372686 w 6191980"/>
              <a:gd name="connsiteY146" fmla="*/ 5893450 h 6184462"/>
              <a:gd name="connsiteX147" fmla="*/ 4327628 w 6191980"/>
              <a:gd name="connsiteY147" fmla="*/ 5925368 h 6184462"/>
              <a:gd name="connsiteX148" fmla="*/ 4280690 w 6191980"/>
              <a:gd name="connsiteY148" fmla="*/ 5949776 h 6184462"/>
              <a:gd name="connsiteX149" fmla="*/ 4224364 w 6191980"/>
              <a:gd name="connsiteY149" fmla="*/ 5966674 h 6184462"/>
              <a:gd name="connsiteX150" fmla="*/ 4166161 w 6191980"/>
              <a:gd name="connsiteY150" fmla="*/ 5974184 h 6184462"/>
              <a:gd name="connsiteX151" fmla="*/ 4106083 w 6191980"/>
              <a:gd name="connsiteY151" fmla="*/ 5976061 h 6184462"/>
              <a:gd name="connsiteX152" fmla="*/ 4042247 w 6191980"/>
              <a:gd name="connsiteY152" fmla="*/ 5970428 h 6184462"/>
              <a:gd name="connsiteX153" fmla="*/ 3978413 w 6191980"/>
              <a:gd name="connsiteY153" fmla="*/ 5962919 h 6184462"/>
              <a:gd name="connsiteX154" fmla="*/ 3914577 w 6191980"/>
              <a:gd name="connsiteY154" fmla="*/ 5953530 h 6184462"/>
              <a:gd name="connsiteX155" fmla="*/ 3850743 w 6191980"/>
              <a:gd name="connsiteY155" fmla="*/ 5946022 h 6184462"/>
              <a:gd name="connsiteX156" fmla="*/ 3786907 w 6191980"/>
              <a:gd name="connsiteY156" fmla="*/ 5942266 h 6184462"/>
              <a:gd name="connsiteX157" fmla="*/ 3724950 w 6191980"/>
              <a:gd name="connsiteY157" fmla="*/ 5942266 h 6184462"/>
              <a:gd name="connsiteX158" fmla="*/ 3666749 w 6191980"/>
              <a:gd name="connsiteY158" fmla="*/ 5949776 h 6184462"/>
              <a:gd name="connsiteX159" fmla="*/ 3606669 w 6191980"/>
              <a:gd name="connsiteY159" fmla="*/ 5964797 h 6184462"/>
              <a:gd name="connsiteX160" fmla="*/ 3552221 w 6191980"/>
              <a:gd name="connsiteY160" fmla="*/ 5987325 h 6184462"/>
              <a:gd name="connsiteX161" fmla="*/ 3495897 w 6191980"/>
              <a:gd name="connsiteY161" fmla="*/ 6017366 h 6184462"/>
              <a:gd name="connsiteX162" fmla="*/ 3439573 w 6191980"/>
              <a:gd name="connsiteY162" fmla="*/ 6047407 h 6184462"/>
              <a:gd name="connsiteX163" fmla="*/ 3383247 w 6191980"/>
              <a:gd name="connsiteY163" fmla="*/ 6081200 h 6184462"/>
              <a:gd name="connsiteX164" fmla="*/ 3328798 w 6191980"/>
              <a:gd name="connsiteY164" fmla="*/ 6113118 h 6184462"/>
              <a:gd name="connsiteX165" fmla="*/ 3270598 w 6191980"/>
              <a:gd name="connsiteY165" fmla="*/ 6141280 h 6184462"/>
              <a:gd name="connsiteX166" fmla="*/ 3214272 w 6191980"/>
              <a:gd name="connsiteY166" fmla="*/ 6163811 h 6184462"/>
              <a:gd name="connsiteX167" fmla="*/ 3156069 w 6191980"/>
              <a:gd name="connsiteY167" fmla="*/ 6178831 h 6184462"/>
              <a:gd name="connsiteX168" fmla="*/ 3095991 w 6191980"/>
              <a:gd name="connsiteY168" fmla="*/ 6184462 h 6184462"/>
              <a:gd name="connsiteX169" fmla="*/ 3035911 w 6191980"/>
              <a:gd name="connsiteY169" fmla="*/ 6178831 h 6184462"/>
              <a:gd name="connsiteX170" fmla="*/ 2977708 w 6191980"/>
              <a:gd name="connsiteY170" fmla="*/ 6163811 h 6184462"/>
              <a:gd name="connsiteX171" fmla="*/ 2921385 w 6191980"/>
              <a:gd name="connsiteY171" fmla="*/ 6141280 h 6184462"/>
              <a:gd name="connsiteX172" fmla="*/ 2863182 w 6191980"/>
              <a:gd name="connsiteY172" fmla="*/ 6113118 h 6184462"/>
              <a:gd name="connsiteX173" fmla="*/ 2808733 w 6191980"/>
              <a:gd name="connsiteY173" fmla="*/ 6081200 h 6184462"/>
              <a:gd name="connsiteX174" fmla="*/ 2752409 w 6191980"/>
              <a:gd name="connsiteY174" fmla="*/ 6047407 h 6184462"/>
              <a:gd name="connsiteX175" fmla="*/ 2696083 w 6191980"/>
              <a:gd name="connsiteY175" fmla="*/ 6017366 h 6184462"/>
              <a:gd name="connsiteX176" fmla="*/ 2639760 w 6191980"/>
              <a:gd name="connsiteY176" fmla="*/ 5987325 h 6184462"/>
              <a:gd name="connsiteX177" fmla="*/ 2583436 w 6191980"/>
              <a:gd name="connsiteY177" fmla="*/ 5964797 h 6184462"/>
              <a:gd name="connsiteX178" fmla="*/ 2525233 w 6191980"/>
              <a:gd name="connsiteY178" fmla="*/ 5949776 h 6184462"/>
              <a:gd name="connsiteX179" fmla="*/ 2467030 w 6191980"/>
              <a:gd name="connsiteY179" fmla="*/ 5942266 h 6184462"/>
              <a:gd name="connsiteX180" fmla="*/ 2405071 w 6191980"/>
              <a:gd name="connsiteY180" fmla="*/ 5942266 h 6184462"/>
              <a:gd name="connsiteX181" fmla="*/ 2341237 w 6191980"/>
              <a:gd name="connsiteY181" fmla="*/ 5946022 h 6184462"/>
              <a:gd name="connsiteX182" fmla="*/ 2277403 w 6191980"/>
              <a:gd name="connsiteY182" fmla="*/ 5953530 h 6184462"/>
              <a:gd name="connsiteX183" fmla="*/ 2213567 w 6191980"/>
              <a:gd name="connsiteY183" fmla="*/ 5962919 h 6184462"/>
              <a:gd name="connsiteX184" fmla="*/ 2149731 w 6191980"/>
              <a:gd name="connsiteY184" fmla="*/ 5970428 h 6184462"/>
              <a:gd name="connsiteX185" fmla="*/ 2085897 w 6191980"/>
              <a:gd name="connsiteY185" fmla="*/ 5976061 h 6184462"/>
              <a:gd name="connsiteX186" fmla="*/ 2025819 w 6191980"/>
              <a:gd name="connsiteY186" fmla="*/ 5974184 h 6184462"/>
              <a:gd name="connsiteX187" fmla="*/ 1967617 w 6191980"/>
              <a:gd name="connsiteY187" fmla="*/ 5966674 h 6184462"/>
              <a:gd name="connsiteX188" fmla="*/ 1911291 w 6191980"/>
              <a:gd name="connsiteY188" fmla="*/ 5949776 h 6184462"/>
              <a:gd name="connsiteX189" fmla="*/ 1864354 w 6191980"/>
              <a:gd name="connsiteY189" fmla="*/ 5925368 h 6184462"/>
              <a:gd name="connsiteX190" fmla="*/ 1819293 w 6191980"/>
              <a:gd name="connsiteY190" fmla="*/ 5893450 h 6184462"/>
              <a:gd name="connsiteX191" fmla="*/ 1779867 w 6191980"/>
              <a:gd name="connsiteY191" fmla="*/ 5855901 h 6184462"/>
              <a:gd name="connsiteX192" fmla="*/ 1740438 w 6191980"/>
              <a:gd name="connsiteY192" fmla="*/ 5812719 h 6184462"/>
              <a:gd name="connsiteX193" fmla="*/ 1704766 w 6191980"/>
              <a:gd name="connsiteY193" fmla="*/ 5767659 h 6184462"/>
              <a:gd name="connsiteX194" fmla="*/ 1669094 w 6191980"/>
              <a:gd name="connsiteY194" fmla="*/ 5720721 h 6184462"/>
              <a:gd name="connsiteX195" fmla="*/ 1633422 w 6191980"/>
              <a:gd name="connsiteY195" fmla="*/ 5673785 h 6184462"/>
              <a:gd name="connsiteX196" fmla="*/ 1597750 w 6191980"/>
              <a:gd name="connsiteY196" fmla="*/ 5628725 h 6184462"/>
              <a:gd name="connsiteX197" fmla="*/ 1560199 w 6191980"/>
              <a:gd name="connsiteY197" fmla="*/ 5585543 h 6184462"/>
              <a:gd name="connsiteX198" fmla="*/ 1517016 w 6191980"/>
              <a:gd name="connsiteY198" fmla="*/ 5547992 h 6184462"/>
              <a:gd name="connsiteX199" fmla="*/ 1475711 w 6191980"/>
              <a:gd name="connsiteY199" fmla="*/ 5514197 h 6184462"/>
              <a:gd name="connsiteX200" fmla="*/ 1428774 w 6191980"/>
              <a:gd name="connsiteY200" fmla="*/ 5487914 h 6184462"/>
              <a:gd name="connsiteX201" fmla="*/ 1378082 w 6191980"/>
              <a:gd name="connsiteY201" fmla="*/ 5465383 h 6184462"/>
              <a:gd name="connsiteX202" fmla="*/ 1323635 w 6191980"/>
              <a:gd name="connsiteY202" fmla="*/ 5446609 h 6184462"/>
              <a:gd name="connsiteX203" fmla="*/ 1267309 w 6191980"/>
              <a:gd name="connsiteY203" fmla="*/ 5429711 h 6184462"/>
              <a:gd name="connsiteX204" fmla="*/ 1210986 w 6191980"/>
              <a:gd name="connsiteY204" fmla="*/ 5414691 h 6184462"/>
              <a:gd name="connsiteX205" fmla="*/ 1152783 w 6191980"/>
              <a:gd name="connsiteY205" fmla="*/ 5399670 h 6184462"/>
              <a:gd name="connsiteX206" fmla="*/ 1098336 w 6191980"/>
              <a:gd name="connsiteY206" fmla="*/ 5382773 h 6184462"/>
              <a:gd name="connsiteX207" fmla="*/ 1043887 w 6191980"/>
              <a:gd name="connsiteY207" fmla="*/ 5363998 h 6184462"/>
              <a:gd name="connsiteX208" fmla="*/ 993197 w 6191980"/>
              <a:gd name="connsiteY208" fmla="*/ 5341467 h 6184462"/>
              <a:gd name="connsiteX209" fmla="*/ 948135 w 6191980"/>
              <a:gd name="connsiteY209" fmla="*/ 5313305 h 6184462"/>
              <a:gd name="connsiteX210" fmla="*/ 906830 w 6191980"/>
              <a:gd name="connsiteY210" fmla="*/ 5279510 h 6184462"/>
              <a:gd name="connsiteX211" fmla="*/ 873037 w 6191980"/>
              <a:gd name="connsiteY211" fmla="*/ 5238207 h 6184462"/>
              <a:gd name="connsiteX212" fmla="*/ 844875 w 6191980"/>
              <a:gd name="connsiteY212" fmla="*/ 5193146 h 6184462"/>
              <a:gd name="connsiteX213" fmla="*/ 822344 w 6191980"/>
              <a:gd name="connsiteY213" fmla="*/ 5142453 h 6184462"/>
              <a:gd name="connsiteX214" fmla="*/ 803570 w 6191980"/>
              <a:gd name="connsiteY214" fmla="*/ 5088007 h 6184462"/>
              <a:gd name="connsiteX215" fmla="*/ 786672 w 6191980"/>
              <a:gd name="connsiteY215" fmla="*/ 5033560 h 6184462"/>
              <a:gd name="connsiteX216" fmla="*/ 771652 w 6191980"/>
              <a:gd name="connsiteY216" fmla="*/ 4975357 h 6184462"/>
              <a:gd name="connsiteX217" fmla="*/ 756631 w 6191980"/>
              <a:gd name="connsiteY217" fmla="*/ 4919033 h 6184462"/>
              <a:gd name="connsiteX218" fmla="*/ 739734 w 6191980"/>
              <a:gd name="connsiteY218" fmla="*/ 4862708 h 6184462"/>
              <a:gd name="connsiteX219" fmla="*/ 720959 w 6191980"/>
              <a:gd name="connsiteY219" fmla="*/ 4808259 h 6184462"/>
              <a:gd name="connsiteX220" fmla="*/ 698428 w 6191980"/>
              <a:gd name="connsiteY220" fmla="*/ 4757566 h 6184462"/>
              <a:gd name="connsiteX221" fmla="*/ 672143 w 6191980"/>
              <a:gd name="connsiteY221" fmla="*/ 4710630 h 6184462"/>
              <a:gd name="connsiteX222" fmla="*/ 638351 w 6191980"/>
              <a:gd name="connsiteY222" fmla="*/ 4669325 h 6184462"/>
              <a:gd name="connsiteX223" fmla="*/ 600799 w 6191980"/>
              <a:gd name="connsiteY223" fmla="*/ 4626142 h 6184462"/>
              <a:gd name="connsiteX224" fmla="*/ 557617 w 6191980"/>
              <a:gd name="connsiteY224" fmla="*/ 4588593 h 6184462"/>
              <a:gd name="connsiteX225" fmla="*/ 510678 w 6191980"/>
              <a:gd name="connsiteY225" fmla="*/ 4552921 h 6184462"/>
              <a:gd name="connsiteX226" fmla="*/ 463742 w 6191980"/>
              <a:gd name="connsiteY226" fmla="*/ 4517249 h 6184462"/>
              <a:gd name="connsiteX227" fmla="*/ 416805 w 6191980"/>
              <a:gd name="connsiteY227" fmla="*/ 4481577 h 6184462"/>
              <a:gd name="connsiteX228" fmla="*/ 371744 w 6191980"/>
              <a:gd name="connsiteY228" fmla="*/ 4445903 h 6184462"/>
              <a:gd name="connsiteX229" fmla="*/ 328562 w 6191980"/>
              <a:gd name="connsiteY229" fmla="*/ 4406477 h 6184462"/>
              <a:gd name="connsiteX230" fmla="*/ 291012 w 6191980"/>
              <a:gd name="connsiteY230" fmla="*/ 4367050 h 6184462"/>
              <a:gd name="connsiteX231" fmla="*/ 259096 w 6191980"/>
              <a:gd name="connsiteY231" fmla="*/ 4321989 h 6184462"/>
              <a:gd name="connsiteX232" fmla="*/ 234689 w 6191980"/>
              <a:gd name="connsiteY232" fmla="*/ 4275053 h 6184462"/>
              <a:gd name="connsiteX233" fmla="*/ 217791 w 6191980"/>
              <a:gd name="connsiteY233" fmla="*/ 4218729 h 6184462"/>
              <a:gd name="connsiteX234" fmla="*/ 210281 w 6191980"/>
              <a:gd name="connsiteY234" fmla="*/ 4160526 h 6184462"/>
              <a:gd name="connsiteX235" fmla="*/ 208402 w 6191980"/>
              <a:gd name="connsiteY235" fmla="*/ 4100444 h 6184462"/>
              <a:gd name="connsiteX236" fmla="*/ 214035 w 6191980"/>
              <a:gd name="connsiteY236" fmla="*/ 4036610 h 6184462"/>
              <a:gd name="connsiteX237" fmla="*/ 221545 w 6191980"/>
              <a:gd name="connsiteY237" fmla="*/ 3972776 h 6184462"/>
              <a:gd name="connsiteX238" fmla="*/ 230932 w 6191980"/>
              <a:gd name="connsiteY238" fmla="*/ 3908940 h 6184462"/>
              <a:gd name="connsiteX239" fmla="*/ 238443 w 6191980"/>
              <a:gd name="connsiteY239" fmla="*/ 3845106 h 6184462"/>
              <a:gd name="connsiteX240" fmla="*/ 242199 w 6191980"/>
              <a:gd name="connsiteY240" fmla="*/ 3781272 h 6184462"/>
              <a:gd name="connsiteX241" fmla="*/ 242199 w 6191980"/>
              <a:gd name="connsiteY241" fmla="*/ 3719313 h 6184462"/>
              <a:gd name="connsiteX242" fmla="*/ 234689 w 6191980"/>
              <a:gd name="connsiteY242" fmla="*/ 3661113 h 6184462"/>
              <a:gd name="connsiteX243" fmla="*/ 219668 w 6191980"/>
              <a:gd name="connsiteY243" fmla="*/ 3602910 h 6184462"/>
              <a:gd name="connsiteX244" fmla="*/ 197138 w 6191980"/>
              <a:gd name="connsiteY244" fmla="*/ 3548461 h 6184462"/>
              <a:gd name="connsiteX245" fmla="*/ 168976 w 6191980"/>
              <a:gd name="connsiteY245" fmla="*/ 3492137 h 6184462"/>
              <a:gd name="connsiteX246" fmla="*/ 137057 w 6191980"/>
              <a:gd name="connsiteY246" fmla="*/ 3435814 h 6184462"/>
              <a:gd name="connsiteX247" fmla="*/ 103264 w 6191980"/>
              <a:gd name="connsiteY247" fmla="*/ 3379488 h 6184462"/>
              <a:gd name="connsiteX248" fmla="*/ 71346 w 6191980"/>
              <a:gd name="connsiteY248" fmla="*/ 3325039 h 6184462"/>
              <a:gd name="connsiteX249" fmla="*/ 43182 w 6191980"/>
              <a:gd name="connsiteY249" fmla="*/ 3266839 h 6184462"/>
              <a:gd name="connsiteX250" fmla="*/ 20654 w 6191980"/>
              <a:gd name="connsiteY250" fmla="*/ 3210513 h 6184462"/>
              <a:gd name="connsiteX251" fmla="*/ 5634 w 6191980"/>
              <a:gd name="connsiteY251" fmla="*/ 3152310 h 6184462"/>
              <a:gd name="connsiteX252" fmla="*/ 0 w 6191980"/>
              <a:gd name="connsiteY252" fmla="*/ 3092230 h 6184462"/>
              <a:gd name="connsiteX253" fmla="*/ 5634 w 6191980"/>
              <a:gd name="connsiteY253" fmla="*/ 3032152 h 6184462"/>
              <a:gd name="connsiteX254" fmla="*/ 20654 w 6191980"/>
              <a:gd name="connsiteY254" fmla="*/ 2973950 h 6184462"/>
              <a:gd name="connsiteX255" fmla="*/ 43182 w 6191980"/>
              <a:gd name="connsiteY255" fmla="*/ 2917624 h 6184462"/>
              <a:gd name="connsiteX256" fmla="*/ 71346 w 6191980"/>
              <a:gd name="connsiteY256" fmla="*/ 2859423 h 6184462"/>
              <a:gd name="connsiteX257" fmla="*/ 103264 w 6191980"/>
              <a:gd name="connsiteY257" fmla="*/ 2804974 h 6184462"/>
              <a:gd name="connsiteX258" fmla="*/ 137057 w 6191980"/>
              <a:gd name="connsiteY258" fmla="*/ 2748651 h 6184462"/>
              <a:gd name="connsiteX259" fmla="*/ 168976 w 6191980"/>
              <a:gd name="connsiteY259" fmla="*/ 2692325 h 6184462"/>
              <a:gd name="connsiteX260" fmla="*/ 197138 w 6191980"/>
              <a:gd name="connsiteY260" fmla="*/ 2636001 h 6184462"/>
              <a:gd name="connsiteX261" fmla="*/ 219668 w 6191980"/>
              <a:gd name="connsiteY261" fmla="*/ 2581552 h 6184462"/>
              <a:gd name="connsiteX262" fmla="*/ 234689 w 6191980"/>
              <a:gd name="connsiteY262" fmla="*/ 2523350 h 6184462"/>
              <a:gd name="connsiteX263" fmla="*/ 242199 w 6191980"/>
              <a:gd name="connsiteY263" fmla="*/ 2465149 h 6184462"/>
              <a:gd name="connsiteX264" fmla="*/ 242199 w 6191980"/>
              <a:gd name="connsiteY264" fmla="*/ 2403192 h 6184462"/>
              <a:gd name="connsiteX265" fmla="*/ 238443 w 6191980"/>
              <a:gd name="connsiteY265" fmla="*/ 2339356 h 6184462"/>
              <a:gd name="connsiteX266" fmla="*/ 230932 w 6191980"/>
              <a:gd name="connsiteY266" fmla="*/ 2275522 h 6184462"/>
              <a:gd name="connsiteX267" fmla="*/ 221545 w 6191980"/>
              <a:gd name="connsiteY267" fmla="*/ 2211686 h 6184462"/>
              <a:gd name="connsiteX268" fmla="*/ 214035 w 6191980"/>
              <a:gd name="connsiteY268" fmla="*/ 2147852 h 6184462"/>
              <a:gd name="connsiteX269" fmla="*/ 208402 w 6191980"/>
              <a:gd name="connsiteY269" fmla="*/ 2084018 h 6184462"/>
              <a:gd name="connsiteX270" fmla="*/ 210281 w 6191980"/>
              <a:gd name="connsiteY270" fmla="*/ 2023938 h 6184462"/>
              <a:gd name="connsiteX271" fmla="*/ 217791 w 6191980"/>
              <a:gd name="connsiteY271" fmla="*/ 1965736 h 6184462"/>
              <a:gd name="connsiteX272" fmla="*/ 234689 w 6191980"/>
              <a:gd name="connsiteY272" fmla="*/ 1909410 h 6184462"/>
              <a:gd name="connsiteX273" fmla="*/ 259096 w 6191980"/>
              <a:gd name="connsiteY273" fmla="*/ 1862474 h 6184462"/>
              <a:gd name="connsiteX274" fmla="*/ 291012 w 6191980"/>
              <a:gd name="connsiteY274" fmla="*/ 1817414 h 6184462"/>
              <a:gd name="connsiteX275" fmla="*/ 328562 w 6191980"/>
              <a:gd name="connsiteY275" fmla="*/ 1777986 h 6184462"/>
              <a:gd name="connsiteX276" fmla="*/ 371744 w 6191980"/>
              <a:gd name="connsiteY276" fmla="*/ 1738560 h 6184462"/>
              <a:gd name="connsiteX277" fmla="*/ 416805 w 6191980"/>
              <a:gd name="connsiteY277" fmla="*/ 1702885 h 6184462"/>
              <a:gd name="connsiteX278" fmla="*/ 463742 w 6191980"/>
              <a:gd name="connsiteY278" fmla="*/ 1667213 h 6184462"/>
              <a:gd name="connsiteX279" fmla="*/ 510678 w 6191980"/>
              <a:gd name="connsiteY279" fmla="*/ 1631541 h 6184462"/>
              <a:gd name="connsiteX280" fmla="*/ 557617 w 6191980"/>
              <a:gd name="connsiteY280" fmla="*/ 1595869 h 6184462"/>
              <a:gd name="connsiteX281" fmla="*/ 600799 w 6191980"/>
              <a:gd name="connsiteY281" fmla="*/ 1558320 h 6184462"/>
              <a:gd name="connsiteX282" fmla="*/ 638351 w 6191980"/>
              <a:gd name="connsiteY282" fmla="*/ 1515138 h 6184462"/>
              <a:gd name="connsiteX283" fmla="*/ 672143 w 6191980"/>
              <a:gd name="connsiteY283" fmla="*/ 1473832 h 6184462"/>
              <a:gd name="connsiteX284" fmla="*/ 698428 w 6191980"/>
              <a:gd name="connsiteY284" fmla="*/ 1426896 h 6184462"/>
              <a:gd name="connsiteX285" fmla="*/ 720959 w 6191980"/>
              <a:gd name="connsiteY285" fmla="*/ 1376203 h 6184462"/>
              <a:gd name="connsiteX286" fmla="*/ 739734 w 6191980"/>
              <a:gd name="connsiteY286" fmla="*/ 1321755 h 6184462"/>
              <a:gd name="connsiteX287" fmla="*/ 756631 w 6191980"/>
              <a:gd name="connsiteY287" fmla="*/ 1265429 h 6184462"/>
              <a:gd name="connsiteX288" fmla="*/ 771652 w 6191980"/>
              <a:gd name="connsiteY288" fmla="*/ 1209105 h 6184462"/>
              <a:gd name="connsiteX289" fmla="*/ 786672 w 6191980"/>
              <a:gd name="connsiteY289" fmla="*/ 1150903 h 6184462"/>
              <a:gd name="connsiteX290" fmla="*/ 803570 w 6191980"/>
              <a:gd name="connsiteY290" fmla="*/ 1096456 h 6184462"/>
              <a:gd name="connsiteX291" fmla="*/ 822344 w 6191980"/>
              <a:gd name="connsiteY291" fmla="*/ 1042007 h 6184462"/>
              <a:gd name="connsiteX292" fmla="*/ 844875 w 6191980"/>
              <a:gd name="connsiteY292" fmla="*/ 991317 h 6184462"/>
              <a:gd name="connsiteX293" fmla="*/ 873037 w 6191980"/>
              <a:gd name="connsiteY293" fmla="*/ 946257 h 6184462"/>
              <a:gd name="connsiteX294" fmla="*/ 906830 w 6191980"/>
              <a:gd name="connsiteY294" fmla="*/ 904952 h 6184462"/>
              <a:gd name="connsiteX295" fmla="*/ 948135 w 6191980"/>
              <a:gd name="connsiteY295" fmla="*/ 871157 h 6184462"/>
              <a:gd name="connsiteX296" fmla="*/ 993197 w 6191980"/>
              <a:gd name="connsiteY296" fmla="*/ 842995 h 6184462"/>
              <a:gd name="connsiteX297" fmla="*/ 1043887 w 6191980"/>
              <a:gd name="connsiteY297" fmla="*/ 820464 h 6184462"/>
              <a:gd name="connsiteX298" fmla="*/ 1098336 w 6191980"/>
              <a:gd name="connsiteY298" fmla="*/ 801690 h 6184462"/>
              <a:gd name="connsiteX299" fmla="*/ 1152783 w 6191980"/>
              <a:gd name="connsiteY299" fmla="*/ 784792 h 6184462"/>
              <a:gd name="connsiteX300" fmla="*/ 1210986 w 6191980"/>
              <a:gd name="connsiteY300" fmla="*/ 769772 h 6184462"/>
              <a:gd name="connsiteX301" fmla="*/ 1267309 w 6191980"/>
              <a:gd name="connsiteY301" fmla="*/ 754751 h 6184462"/>
              <a:gd name="connsiteX302" fmla="*/ 1323635 w 6191980"/>
              <a:gd name="connsiteY302" fmla="*/ 737854 h 6184462"/>
              <a:gd name="connsiteX303" fmla="*/ 1378082 w 6191980"/>
              <a:gd name="connsiteY303" fmla="*/ 719079 h 6184462"/>
              <a:gd name="connsiteX304" fmla="*/ 1428774 w 6191980"/>
              <a:gd name="connsiteY304" fmla="*/ 696549 h 6184462"/>
              <a:gd name="connsiteX305" fmla="*/ 1475711 w 6191980"/>
              <a:gd name="connsiteY305" fmla="*/ 670266 h 6184462"/>
              <a:gd name="connsiteX306" fmla="*/ 1517016 w 6191980"/>
              <a:gd name="connsiteY306" fmla="*/ 636471 h 6184462"/>
              <a:gd name="connsiteX307" fmla="*/ 1560199 w 6191980"/>
              <a:gd name="connsiteY307" fmla="*/ 598919 h 6184462"/>
              <a:gd name="connsiteX308" fmla="*/ 1597750 w 6191980"/>
              <a:gd name="connsiteY308" fmla="*/ 555737 h 6184462"/>
              <a:gd name="connsiteX309" fmla="*/ 1633422 w 6191980"/>
              <a:gd name="connsiteY309" fmla="*/ 510678 h 6184462"/>
              <a:gd name="connsiteX310" fmla="*/ 1669094 w 6191980"/>
              <a:gd name="connsiteY310" fmla="*/ 463741 h 6184462"/>
              <a:gd name="connsiteX311" fmla="*/ 1704766 w 6191980"/>
              <a:gd name="connsiteY311" fmla="*/ 416803 h 6184462"/>
              <a:gd name="connsiteX312" fmla="*/ 1740438 w 6191980"/>
              <a:gd name="connsiteY312" fmla="*/ 371743 h 6184462"/>
              <a:gd name="connsiteX313" fmla="*/ 1779867 w 6191980"/>
              <a:gd name="connsiteY313" fmla="*/ 328561 h 6184462"/>
              <a:gd name="connsiteX314" fmla="*/ 1819293 w 6191980"/>
              <a:gd name="connsiteY314" fmla="*/ 291012 h 6184462"/>
              <a:gd name="connsiteX315" fmla="*/ 1864354 w 6191980"/>
              <a:gd name="connsiteY315" fmla="*/ 259094 h 6184462"/>
              <a:gd name="connsiteX316" fmla="*/ 1911291 w 6191980"/>
              <a:gd name="connsiteY316" fmla="*/ 234686 h 6184462"/>
              <a:gd name="connsiteX317" fmla="*/ 1967617 w 6191980"/>
              <a:gd name="connsiteY317" fmla="*/ 217789 h 6184462"/>
              <a:gd name="connsiteX318" fmla="*/ 2025819 w 6191980"/>
              <a:gd name="connsiteY318" fmla="*/ 210279 h 6184462"/>
              <a:gd name="connsiteX319" fmla="*/ 2085897 w 6191980"/>
              <a:gd name="connsiteY319" fmla="*/ 208401 h 6184462"/>
              <a:gd name="connsiteX320" fmla="*/ 2149731 w 6191980"/>
              <a:gd name="connsiteY320" fmla="*/ 214035 h 6184462"/>
              <a:gd name="connsiteX321" fmla="*/ 2213567 w 6191980"/>
              <a:gd name="connsiteY321" fmla="*/ 221545 h 6184462"/>
              <a:gd name="connsiteX322" fmla="*/ 2277403 w 6191980"/>
              <a:gd name="connsiteY322" fmla="*/ 230932 h 6184462"/>
              <a:gd name="connsiteX323" fmla="*/ 2341237 w 6191980"/>
              <a:gd name="connsiteY323" fmla="*/ 238443 h 6184462"/>
              <a:gd name="connsiteX324" fmla="*/ 2405071 w 6191980"/>
              <a:gd name="connsiteY324" fmla="*/ 242197 h 6184462"/>
              <a:gd name="connsiteX325" fmla="*/ 2467030 w 6191980"/>
              <a:gd name="connsiteY325" fmla="*/ 242197 h 6184462"/>
              <a:gd name="connsiteX326" fmla="*/ 2525233 w 6191980"/>
              <a:gd name="connsiteY326" fmla="*/ 234686 h 6184462"/>
              <a:gd name="connsiteX327" fmla="*/ 2583436 w 6191980"/>
              <a:gd name="connsiteY327" fmla="*/ 219666 h 6184462"/>
              <a:gd name="connsiteX328" fmla="*/ 2639760 w 6191980"/>
              <a:gd name="connsiteY328" fmla="*/ 197137 h 6184462"/>
              <a:gd name="connsiteX329" fmla="*/ 2696083 w 6191980"/>
              <a:gd name="connsiteY329" fmla="*/ 167096 h 6184462"/>
              <a:gd name="connsiteX330" fmla="*/ 2752409 w 6191980"/>
              <a:gd name="connsiteY330" fmla="*/ 137057 h 6184462"/>
              <a:gd name="connsiteX331" fmla="*/ 2808733 w 6191980"/>
              <a:gd name="connsiteY331" fmla="*/ 103262 h 6184462"/>
              <a:gd name="connsiteX332" fmla="*/ 2863182 w 6191980"/>
              <a:gd name="connsiteY332" fmla="*/ 71344 h 6184462"/>
              <a:gd name="connsiteX333" fmla="*/ 2921385 w 6191980"/>
              <a:gd name="connsiteY333" fmla="*/ 43182 h 6184462"/>
              <a:gd name="connsiteX334" fmla="*/ 2977708 w 6191980"/>
              <a:gd name="connsiteY334" fmla="*/ 20652 h 6184462"/>
              <a:gd name="connsiteX335" fmla="*/ 3035911 w 6191980"/>
              <a:gd name="connsiteY335" fmla="*/ 5631 h 618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6191980" h="6184462">
                <a:moveTo>
                  <a:pt x="3095991" y="0"/>
                </a:moveTo>
                <a:lnTo>
                  <a:pt x="3156069" y="5631"/>
                </a:lnTo>
                <a:lnTo>
                  <a:pt x="3214272" y="20652"/>
                </a:lnTo>
                <a:lnTo>
                  <a:pt x="3270598" y="43182"/>
                </a:lnTo>
                <a:lnTo>
                  <a:pt x="3328798" y="71344"/>
                </a:lnTo>
                <a:lnTo>
                  <a:pt x="3383247" y="103262"/>
                </a:lnTo>
                <a:lnTo>
                  <a:pt x="3439573" y="137057"/>
                </a:lnTo>
                <a:lnTo>
                  <a:pt x="3495897" y="167096"/>
                </a:lnTo>
                <a:lnTo>
                  <a:pt x="3552221" y="197137"/>
                </a:lnTo>
                <a:lnTo>
                  <a:pt x="3606669" y="219666"/>
                </a:lnTo>
                <a:lnTo>
                  <a:pt x="3666749" y="234686"/>
                </a:lnTo>
                <a:lnTo>
                  <a:pt x="3724950" y="242197"/>
                </a:lnTo>
                <a:lnTo>
                  <a:pt x="3786907" y="242197"/>
                </a:lnTo>
                <a:lnTo>
                  <a:pt x="3850743" y="238443"/>
                </a:lnTo>
                <a:lnTo>
                  <a:pt x="3914577" y="230932"/>
                </a:lnTo>
                <a:lnTo>
                  <a:pt x="3978413" y="221545"/>
                </a:lnTo>
                <a:lnTo>
                  <a:pt x="4042247" y="214035"/>
                </a:lnTo>
                <a:lnTo>
                  <a:pt x="4106083" y="208401"/>
                </a:lnTo>
                <a:lnTo>
                  <a:pt x="4166161" y="210279"/>
                </a:lnTo>
                <a:lnTo>
                  <a:pt x="4224364" y="217789"/>
                </a:lnTo>
                <a:lnTo>
                  <a:pt x="4280690" y="234686"/>
                </a:lnTo>
                <a:lnTo>
                  <a:pt x="4327628" y="259094"/>
                </a:lnTo>
                <a:lnTo>
                  <a:pt x="4372686" y="291012"/>
                </a:lnTo>
                <a:lnTo>
                  <a:pt x="4412114" y="328561"/>
                </a:lnTo>
                <a:lnTo>
                  <a:pt x="4451542" y="371743"/>
                </a:lnTo>
                <a:lnTo>
                  <a:pt x="4487214" y="416803"/>
                </a:lnTo>
                <a:lnTo>
                  <a:pt x="4522886" y="463741"/>
                </a:lnTo>
                <a:lnTo>
                  <a:pt x="4558559" y="510678"/>
                </a:lnTo>
                <a:lnTo>
                  <a:pt x="4594231" y="555737"/>
                </a:lnTo>
                <a:lnTo>
                  <a:pt x="4631782" y="598919"/>
                </a:lnTo>
                <a:lnTo>
                  <a:pt x="4674964" y="636471"/>
                </a:lnTo>
                <a:lnTo>
                  <a:pt x="4716270" y="670266"/>
                </a:lnTo>
                <a:lnTo>
                  <a:pt x="4763206" y="696549"/>
                </a:lnTo>
                <a:lnTo>
                  <a:pt x="4813899" y="719079"/>
                </a:lnTo>
                <a:lnTo>
                  <a:pt x="4868345" y="737854"/>
                </a:lnTo>
                <a:lnTo>
                  <a:pt x="4924669" y="754751"/>
                </a:lnTo>
                <a:lnTo>
                  <a:pt x="4980995" y="769772"/>
                </a:lnTo>
                <a:lnTo>
                  <a:pt x="5039198" y="784792"/>
                </a:lnTo>
                <a:lnTo>
                  <a:pt x="5093644" y="801690"/>
                </a:lnTo>
                <a:lnTo>
                  <a:pt x="5148091" y="820464"/>
                </a:lnTo>
                <a:lnTo>
                  <a:pt x="5198784" y="842995"/>
                </a:lnTo>
                <a:lnTo>
                  <a:pt x="5243845" y="871157"/>
                </a:lnTo>
                <a:lnTo>
                  <a:pt x="5285151" y="904952"/>
                </a:lnTo>
                <a:lnTo>
                  <a:pt x="5318944" y="946257"/>
                </a:lnTo>
                <a:lnTo>
                  <a:pt x="5347108" y="991317"/>
                </a:lnTo>
                <a:lnTo>
                  <a:pt x="5369636" y="1042007"/>
                </a:lnTo>
                <a:lnTo>
                  <a:pt x="5388410" y="1096456"/>
                </a:lnTo>
                <a:lnTo>
                  <a:pt x="5405308" y="1150903"/>
                </a:lnTo>
                <a:lnTo>
                  <a:pt x="5420328" y="1209105"/>
                </a:lnTo>
                <a:lnTo>
                  <a:pt x="5435349" y="1265429"/>
                </a:lnTo>
                <a:lnTo>
                  <a:pt x="5452246" y="1321755"/>
                </a:lnTo>
                <a:lnTo>
                  <a:pt x="5471021" y="1376203"/>
                </a:lnTo>
                <a:lnTo>
                  <a:pt x="5493550" y="1426896"/>
                </a:lnTo>
                <a:lnTo>
                  <a:pt x="5519836" y="1473832"/>
                </a:lnTo>
                <a:lnTo>
                  <a:pt x="5553632" y="1515138"/>
                </a:lnTo>
                <a:lnTo>
                  <a:pt x="5591181" y="1558320"/>
                </a:lnTo>
                <a:lnTo>
                  <a:pt x="5634364" y="1595869"/>
                </a:lnTo>
                <a:lnTo>
                  <a:pt x="5679425" y="1631541"/>
                </a:lnTo>
                <a:lnTo>
                  <a:pt x="5728238" y="1667213"/>
                </a:lnTo>
                <a:lnTo>
                  <a:pt x="5775175" y="1702885"/>
                </a:lnTo>
                <a:lnTo>
                  <a:pt x="5820236" y="1738560"/>
                </a:lnTo>
                <a:lnTo>
                  <a:pt x="5863416" y="1777986"/>
                </a:lnTo>
                <a:lnTo>
                  <a:pt x="5900968" y="1817414"/>
                </a:lnTo>
                <a:lnTo>
                  <a:pt x="5932886" y="1862474"/>
                </a:lnTo>
                <a:lnTo>
                  <a:pt x="5957294" y="1909410"/>
                </a:lnTo>
                <a:lnTo>
                  <a:pt x="5974191" y="1965736"/>
                </a:lnTo>
                <a:lnTo>
                  <a:pt x="5981700" y="2023938"/>
                </a:lnTo>
                <a:lnTo>
                  <a:pt x="5983578" y="2084018"/>
                </a:lnTo>
                <a:lnTo>
                  <a:pt x="5977945" y="2147852"/>
                </a:lnTo>
                <a:lnTo>
                  <a:pt x="5970435" y="2211686"/>
                </a:lnTo>
                <a:lnTo>
                  <a:pt x="5961048" y="2275522"/>
                </a:lnTo>
                <a:lnTo>
                  <a:pt x="5953538" y="2339356"/>
                </a:lnTo>
                <a:lnTo>
                  <a:pt x="5949784" y="2403192"/>
                </a:lnTo>
                <a:lnTo>
                  <a:pt x="5949784" y="2465149"/>
                </a:lnTo>
                <a:lnTo>
                  <a:pt x="5957294" y="2523350"/>
                </a:lnTo>
                <a:lnTo>
                  <a:pt x="5972312" y="2581552"/>
                </a:lnTo>
                <a:lnTo>
                  <a:pt x="5994843" y="2636001"/>
                </a:lnTo>
                <a:lnTo>
                  <a:pt x="6024884" y="2692325"/>
                </a:lnTo>
                <a:lnTo>
                  <a:pt x="6054922" y="2748651"/>
                </a:lnTo>
                <a:lnTo>
                  <a:pt x="6088718" y="2804974"/>
                </a:lnTo>
                <a:lnTo>
                  <a:pt x="6120634" y="2859423"/>
                </a:lnTo>
                <a:lnTo>
                  <a:pt x="6148798" y="2917624"/>
                </a:lnTo>
                <a:lnTo>
                  <a:pt x="6171326" y="2973950"/>
                </a:lnTo>
                <a:lnTo>
                  <a:pt x="6186347" y="3032152"/>
                </a:lnTo>
                <a:lnTo>
                  <a:pt x="6191980" y="3092230"/>
                </a:lnTo>
                <a:lnTo>
                  <a:pt x="6186347" y="3152310"/>
                </a:lnTo>
                <a:lnTo>
                  <a:pt x="6171326" y="3210513"/>
                </a:lnTo>
                <a:lnTo>
                  <a:pt x="6148798" y="3266839"/>
                </a:lnTo>
                <a:lnTo>
                  <a:pt x="6120634" y="3325039"/>
                </a:lnTo>
                <a:lnTo>
                  <a:pt x="6088718" y="3379488"/>
                </a:lnTo>
                <a:lnTo>
                  <a:pt x="6054922" y="3435814"/>
                </a:lnTo>
                <a:lnTo>
                  <a:pt x="6024884" y="3492137"/>
                </a:lnTo>
                <a:lnTo>
                  <a:pt x="5994843" y="3548461"/>
                </a:lnTo>
                <a:lnTo>
                  <a:pt x="5972312" y="3602910"/>
                </a:lnTo>
                <a:lnTo>
                  <a:pt x="5957294" y="3661113"/>
                </a:lnTo>
                <a:lnTo>
                  <a:pt x="5949784" y="3719313"/>
                </a:lnTo>
                <a:lnTo>
                  <a:pt x="5949784" y="3781272"/>
                </a:lnTo>
                <a:lnTo>
                  <a:pt x="5953538" y="3845106"/>
                </a:lnTo>
                <a:lnTo>
                  <a:pt x="5961048" y="3908940"/>
                </a:lnTo>
                <a:lnTo>
                  <a:pt x="5970435" y="3972776"/>
                </a:lnTo>
                <a:lnTo>
                  <a:pt x="5977945" y="4036610"/>
                </a:lnTo>
                <a:lnTo>
                  <a:pt x="5983578" y="4100444"/>
                </a:lnTo>
                <a:lnTo>
                  <a:pt x="5981700" y="4160526"/>
                </a:lnTo>
                <a:lnTo>
                  <a:pt x="5974191" y="4218729"/>
                </a:lnTo>
                <a:lnTo>
                  <a:pt x="5957294" y="4275053"/>
                </a:lnTo>
                <a:lnTo>
                  <a:pt x="5932886" y="4321989"/>
                </a:lnTo>
                <a:lnTo>
                  <a:pt x="5900968" y="4367050"/>
                </a:lnTo>
                <a:lnTo>
                  <a:pt x="5863416" y="4406477"/>
                </a:lnTo>
                <a:lnTo>
                  <a:pt x="5820236" y="4445903"/>
                </a:lnTo>
                <a:lnTo>
                  <a:pt x="5775175" y="4481577"/>
                </a:lnTo>
                <a:lnTo>
                  <a:pt x="5728238" y="4517249"/>
                </a:lnTo>
                <a:lnTo>
                  <a:pt x="5679425" y="4552921"/>
                </a:lnTo>
                <a:lnTo>
                  <a:pt x="5634364" y="4588593"/>
                </a:lnTo>
                <a:lnTo>
                  <a:pt x="5591181" y="4626142"/>
                </a:lnTo>
                <a:lnTo>
                  <a:pt x="5553632" y="4669325"/>
                </a:lnTo>
                <a:lnTo>
                  <a:pt x="5519836" y="4710630"/>
                </a:lnTo>
                <a:lnTo>
                  <a:pt x="5493550" y="4757566"/>
                </a:lnTo>
                <a:lnTo>
                  <a:pt x="5471021" y="4808259"/>
                </a:lnTo>
                <a:lnTo>
                  <a:pt x="5452246" y="4862708"/>
                </a:lnTo>
                <a:lnTo>
                  <a:pt x="5435349" y="4919033"/>
                </a:lnTo>
                <a:lnTo>
                  <a:pt x="5420328" y="4975357"/>
                </a:lnTo>
                <a:lnTo>
                  <a:pt x="5405308" y="5033560"/>
                </a:lnTo>
                <a:lnTo>
                  <a:pt x="5388410" y="5088007"/>
                </a:lnTo>
                <a:lnTo>
                  <a:pt x="5369636" y="5142453"/>
                </a:lnTo>
                <a:lnTo>
                  <a:pt x="5347108" y="5193146"/>
                </a:lnTo>
                <a:lnTo>
                  <a:pt x="5318944" y="5238207"/>
                </a:lnTo>
                <a:lnTo>
                  <a:pt x="5285151" y="5279510"/>
                </a:lnTo>
                <a:lnTo>
                  <a:pt x="5243845" y="5313305"/>
                </a:lnTo>
                <a:lnTo>
                  <a:pt x="5198784" y="5341467"/>
                </a:lnTo>
                <a:lnTo>
                  <a:pt x="5148091" y="5363998"/>
                </a:lnTo>
                <a:lnTo>
                  <a:pt x="5093644" y="5382773"/>
                </a:lnTo>
                <a:lnTo>
                  <a:pt x="5039198" y="5399670"/>
                </a:lnTo>
                <a:lnTo>
                  <a:pt x="4980995" y="5414691"/>
                </a:lnTo>
                <a:lnTo>
                  <a:pt x="4924669" y="5429711"/>
                </a:lnTo>
                <a:lnTo>
                  <a:pt x="4868345" y="5446609"/>
                </a:lnTo>
                <a:lnTo>
                  <a:pt x="4813899" y="5465383"/>
                </a:lnTo>
                <a:lnTo>
                  <a:pt x="4763206" y="5487914"/>
                </a:lnTo>
                <a:lnTo>
                  <a:pt x="4716270" y="5514197"/>
                </a:lnTo>
                <a:lnTo>
                  <a:pt x="4674964" y="5547992"/>
                </a:lnTo>
                <a:lnTo>
                  <a:pt x="4631782" y="5585543"/>
                </a:lnTo>
                <a:lnTo>
                  <a:pt x="4594231" y="5628725"/>
                </a:lnTo>
                <a:lnTo>
                  <a:pt x="4558559" y="5673785"/>
                </a:lnTo>
                <a:lnTo>
                  <a:pt x="4522886" y="5720721"/>
                </a:lnTo>
                <a:lnTo>
                  <a:pt x="4487214" y="5767659"/>
                </a:lnTo>
                <a:lnTo>
                  <a:pt x="4451542" y="5812719"/>
                </a:lnTo>
                <a:lnTo>
                  <a:pt x="4412114" y="5855901"/>
                </a:lnTo>
                <a:lnTo>
                  <a:pt x="4372686" y="5893450"/>
                </a:lnTo>
                <a:lnTo>
                  <a:pt x="4327628" y="5925368"/>
                </a:lnTo>
                <a:lnTo>
                  <a:pt x="4280690" y="5949776"/>
                </a:lnTo>
                <a:lnTo>
                  <a:pt x="4224364" y="5966674"/>
                </a:lnTo>
                <a:lnTo>
                  <a:pt x="4166161" y="5974184"/>
                </a:lnTo>
                <a:lnTo>
                  <a:pt x="4106083" y="5976061"/>
                </a:lnTo>
                <a:lnTo>
                  <a:pt x="4042247" y="5970428"/>
                </a:lnTo>
                <a:lnTo>
                  <a:pt x="3978413" y="5962919"/>
                </a:lnTo>
                <a:lnTo>
                  <a:pt x="3914577" y="5953530"/>
                </a:lnTo>
                <a:lnTo>
                  <a:pt x="3850743" y="5946022"/>
                </a:lnTo>
                <a:lnTo>
                  <a:pt x="3786907" y="5942266"/>
                </a:lnTo>
                <a:lnTo>
                  <a:pt x="3724950" y="5942266"/>
                </a:lnTo>
                <a:lnTo>
                  <a:pt x="3666749" y="5949776"/>
                </a:lnTo>
                <a:lnTo>
                  <a:pt x="3606669" y="5964797"/>
                </a:lnTo>
                <a:lnTo>
                  <a:pt x="3552221" y="5987325"/>
                </a:lnTo>
                <a:lnTo>
                  <a:pt x="3495897" y="6017366"/>
                </a:lnTo>
                <a:lnTo>
                  <a:pt x="3439573" y="6047407"/>
                </a:lnTo>
                <a:lnTo>
                  <a:pt x="3383247" y="6081200"/>
                </a:lnTo>
                <a:lnTo>
                  <a:pt x="3328798" y="6113118"/>
                </a:lnTo>
                <a:lnTo>
                  <a:pt x="3270598" y="6141280"/>
                </a:lnTo>
                <a:lnTo>
                  <a:pt x="3214272" y="6163811"/>
                </a:lnTo>
                <a:lnTo>
                  <a:pt x="3156069" y="6178831"/>
                </a:lnTo>
                <a:lnTo>
                  <a:pt x="3095991" y="6184462"/>
                </a:lnTo>
                <a:lnTo>
                  <a:pt x="3035911" y="6178831"/>
                </a:lnTo>
                <a:lnTo>
                  <a:pt x="2977708" y="6163811"/>
                </a:lnTo>
                <a:lnTo>
                  <a:pt x="2921385" y="6141280"/>
                </a:lnTo>
                <a:lnTo>
                  <a:pt x="2863182" y="6113118"/>
                </a:lnTo>
                <a:lnTo>
                  <a:pt x="2808733" y="6081200"/>
                </a:lnTo>
                <a:lnTo>
                  <a:pt x="2752409" y="6047407"/>
                </a:lnTo>
                <a:lnTo>
                  <a:pt x="2696083" y="6017366"/>
                </a:lnTo>
                <a:lnTo>
                  <a:pt x="2639760" y="5987325"/>
                </a:lnTo>
                <a:lnTo>
                  <a:pt x="2583436" y="5964797"/>
                </a:lnTo>
                <a:lnTo>
                  <a:pt x="2525233" y="5949776"/>
                </a:lnTo>
                <a:lnTo>
                  <a:pt x="2467030" y="5942266"/>
                </a:lnTo>
                <a:lnTo>
                  <a:pt x="2405071" y="5942266"/>
                </a:lnTo>
                <a:lnTo>
                  <a:pt x="2341237" y="5946022"/>
                </a:lnTo>
                <a:lnTo>
                  <a:pt x="2277403" y="5953530"/>
                </a:lnTo>
                <a:lnTo>
                  <a:pt x="2213567" y="5962919"/>
                </a:lnTo>
                <a:lnTo>
                  <a:pt x="2149731" y="5970428"/>
                </a:lnTo>
                <a:lnTo>
                  <a:pt x="2085897" y="5976061"/>
                </a:lnTo>
                <a:lnTo>
                  <a:pt x="2025819" y="5974184"/>
                </a:lnTo>
                <a:lnTo>
                  <a:pt x="1967617" y="5966674"/>
                </a:lnTo>
                <a:lnTo>
                  <a:pt x="1911291" y="5949776"/>
                </a:lnTo>
                <a:lnTo>
                  <a:pt x="1864354" y="5925368"/>
                </a:lnTo>
                <a:lnTo>
                  <a:pt x="1819293" y="5893450"/>
                </a:lnTo>
                <a:lnTo>
                  <a:pt x="1779867" y="5855901"/>
                </a:lnTo>
                <a:lnTo>
                  <a:pt x="1740438" y="5812719"/>
                </a:lnTo>
                <a:lnTo>
                  <a:pt x="1704766" y="5767659"/>
                </a:lnTo>
                <a:lnTo>
                  <a:pt x="1669094" y="5720721"/>
                </a:lnTo>
                <a:lnTo>
                  <a:pt x="1633422" y="5673785"/>
                </a:lnTo>
                <a:lnTo>
                  <a:pt x="1597750" y="5628725"/>
                </a:lnTo>
                <a:lnTo>
                  <a:pt x="1560199" y="5585543"/>
                </a:lnTo>
                <a:lnTo>
                  <a:pt x="1517016" y="5547992"/>
                </a:lnTo>
                <a:lnTo>
                  <a:pt x="1475711" y="5514197"/>
                </a:lnTo>
                <a:lnTo>
                  <a:pt x="1428774" y="5487914"/>
                </a:lnTo>
                <a:lnTo>
                  <a:pt x="1378082" y="5465383"/>
                </a:lnTo>
                <a:lnTo>
                  <a:pt x="1323635" y="5446609"/>
                </a:lnTo>
                <a:lnTo>
                  <a:pt x="1267309" y="5429711"/>
                </a:lnTo>
                <a:lnTo>
                  <a:pt x="1210986" y="5414691"/>
                </a:lnTo>
                <a:lnTo>
                  <a:pt x="1152783" y="5399670"/>
                </a:lnTo>
                <a:lnTo>
                  <a:pt x="1098336" y="5382773"/>
                </a:lnTo>
                <a:lnTo>
                  <a:pt x="1043887" y="5363998"/>
                </a:lnTo>
                <a:lnTo>
                  <a:pt x="993197" y="5341467"/>
                </a:lnTo>
                <a:lnTo>
                  <a:pt x="948135" y="5313305"/>
                </a:lnTo>
                <a:lnTo>
                  <a:pt x="906830" y="5279510"/>
                </a:lnTo>
                <a:lnTo>
                  <a:pt x="873037" y="5238207"/>
                </a:lnTo>
                <a:lnTo>
                  <a:pt x="844875" y="5193146"/>
                </a:lnTo>
                <a:lnTo>
                  <a:pt x="822344" y="5142453"/>
                </a:lnTo>
                <a:lnTo>
                  <a:pt x="803570" y="5088007"/>
                </a:lnTo>
                <a:lnTo>
                  <a:pt x="786672" y="5033560"/>
                </a:lnTo>
                <a:lnTo>
                  <a:pt x="771652" y="4975357"/>
                </a:lnTo>
                <a:lnTo>
                  <a:pt x="756631" y="4919033"/>
                </a:lnTo>
                <a:lnTo>
                  <a:pt x="739734" y="4862708"/>
                </a:lnTo>
                <a:lnTo>
                  <a:pt x="720959" y="4808259"/>
                </a:lnTo>
                <a:lnTo>
                  <a:pt x="698428" y="4757566"/>
                </a:lnTo>
                <a:lnTo>
                  <a:pt x="672143" y="4710630"/>
                </a:lnTo>
                <a:lnTo>
                  <a:pt x="638351" y="4669325"/>
                </a:lnTo>
                <a:lnTo>
                  <a:pt x="600799" y="4626142"/>
                </a:lnTo>
                <a:lnTo>
                  <a:pt x="557617" y="4588593"/>
                </a:lnTo>
                <a:lnTo>
                  <a:pt x="510678" y="4552921"/>
                </a:lnTo>
                <a:lnTo>
                  <a:pt x="463742" y="4517249"/>
                </a:lnTo>
                <a:lnTo>
                  <a:pt x="416805" y="4481577"/>
                </a:lnTo>
                <a:lnTo>
                  <a:pt x="371744" y="4445903"/>
                </a:lnTo>
                <a:lnTo>
                  <a:pt x="328562" y="4406477"/>
                </a:lnTo>
                <a:lnTo>
                  <a:pt x="291012" y="4367050"/>
                </a:lnTo>
                <a:lnTo>
                  <a:pt x="259096" y="4321989"/>
                </a:lnTo>
                <a:lnTo>
                  <a:pt x="234689" y="4275053"/>
                </a:lnTo>
                <a:lnTo>
                  <a:pt x="217791" y="4218729"/>
                </a:lnTo>
                <a:lnTo>
                  <a:pt x="210281" y="4160526"/>
                </a:lnTo>
                <a:lnTo>
                  <a:pt x="208402" y="4100444"/>
                </a:lnTo>
                <a:lnTo>
                  <a:pt x="214035" y="4036610"/>
                </a:lnTo>
                <a:lnTo>
                  <a:pt x="221545" y="3972776"/>
                </a:lnTo>
                <a:lnTo>
                  <a:pt x="230932" y="3908940"/>
                </a:lnTo>
                <a:lnTo>
                  <a:pt x="238443" y="3845106"/>
                </a:lnTo>
                <a:lnTo>
                  <a:pt x="242199" y="3781272"/>
                </a:lnTo>
                <a:lnTo>
                  <a:pt x="242199" y="3719313"/>
                </a:lnTo>
                <a:lnTo>
                  <a:pt x="234689" y="3661113"/>
                </a:lnTo>
                <a:lnTo>
                  <a:pt x="219668" y="3602910"/>
                </a:lnTo>
                <a:lnTo>
                  <a:pt x="197138" y="3548461"/>
                </a:lnTo>
                <a:lnTo>
                  <a:pt x="168976" y="3492137"/>
                </a:lnTo>
                <a:lnTo>
                  <a:pt x="137057" y="3435814"/>
                </a:lnTo>
                <a:lnTo>
                  <a:pt x="103264" y="3379488"/>
                </a:lnTo>
                <a:lnTo>
                  <a:pt x="71346" y="3325039"/>
                </a:lnTo>
                <a:lnTo>
                  <a:pt x="43182" y="3266839"/>
                </a:lnTo>
                <a:lnTo>
                  <a:pt x="20654" y="3210513"/>
                </a:lnTo>
                <a:lnTo>
                  <a:pt x="5634" y="3152310"/>
                </a:lnTo>
                <a:lnTo>
                  <a:pt x="0" y="3092230"/>
                </a:lnTo>
                <a:lnTo>
                  <a:pt x="5634" y="3032152"/>
                </a:lnTo>
                <a:lnTo>
                  <a:pt x="20654" y="2973950"/>
                </a:lnTo>
                <a:lnTo>
                  <a:pt x="43182" y="2917624"/>
                </a:lnTo>
                <a:lnTo>
                  <a:pt x="71346" y="2859423"/>
                </a:lnTo>
                <a:lnTo>
                  <a:pt x="103264" y="2804974"/>
                </a:lnTo>
                <a:lnTo>
                  <a:pt x="137057" y="2748651"/>
                </a:lnTo>
                <a:lnTo>
                  <a:pt x="168976" y="2692325"/>
                </a:lnTo>
                <a:lnTo>
                  <a:pt x="197138" y="2636001"/>
                </a:lnTo>
                <a:lnTo>
                  <a:pt x="219668" y="2581552"/>
                </a:lnTo>
                <a:lnTo>
                  <a:pt x="234689" y="2523350"/>
                </a:lnTo>
                <a:lnTo>
                  <a:pt x="242199" y="2465149"/>
                </a:lnTo>
                <a:lnTo>
                  <a:pt x="242199" y="2403192"/>
                </a:lnTo>
                <a:lnTo>
                  <a:pt x="238443" y="2339356"/>
                </a:lnTo>
                <a:lnTo>
                  <a:pt x="230932" y="2275522"/>
                </a:lnTo>
                <a:lnTo>
                  <a:pt x="221545" y="2211686"/>
                </a:lnTo>
                <a:lnTo>
                  <a:pt x="214035" y="2147852"/>
                </a:lnTo>
                <a:lnTo>
                  <a:pt x="208402" y="2084018"/>
                </a:lnTo>
                <a:lnTo>
                  <a:pt x="210281" y="2023938"/>
                </a:lnTo>
                <a:lnTo>
                  <a:pt x="217791" y="1965736"/>
                </a:lnTo>
                <a:lnTo>
                  <a:pt x="234689" y="1909410"/>
                </a:lnTo>
                <a:lnTo>
                  <a:pt x="259096" y="1862474"/>
                </a:lnTo>
                <a:lnTo>
                  <a:pt x="291012" y="1817414"/>
                </a:lnTo>
                <a:lnTo>
                  <a:pt x="328562" y="1777986"/>
                </a:lnTo>
                <a:lnTo>
                  <a:pt x="371744" y="1738560"/>
                </a:lnTo>
                <a:lnTo>
                  <a:pt x="416805" y="1702885"/>
                </a:lnTo>
                <a:lnTo>
                  <a:pt x="463742" y="1667213"/>
                </a:lnTo>
                <a:lnTo>
                  <a:pt x="510678" y="1631541"/>
                </a:lnTo>
                <a:lnTo>
                  <a:pt x="557617" y="1595869"/>
                </a:lnTo>
                <a:lnTo>
                  <a:pt x="600799" y="1558320"/>
                </a:lnTo>
                <a:lnTo>
                  <a:pt x="638351" y="1515138"/>
                </a:lnTo>
                <a:lnTo>
                  <a:pt x="672143" y="1473832"/>
                </a:lnTo>
                <a:lnTo>
                  <a:pt x="698428" y="1426896"/>
                </a:lnTo>
                <a:lnTo>
                  <a:pt x="720959" y="1376203"/>
                </a:lnTo>
                <a:lnTo>
                  <a:pt x="739734" y="1321755"/>
                </a:lnTo>
                <a:lnTo>
                  <a:pt x="756631" y="1265429"/>
                </a:lnTo>
                <a:lnTo>
                  <a:pt x="771652" y="1209105"/>
                </a:lnTo>
                <a:lnTo>
                  <a:pt x="786672" y="1150903"/>
                </a:lnTo>
                <a:lnTo>
                  <a:pt x="803570" y="1096456"/>
                </a:lnTo>
                <a:lnTo>
                  <a:pt x="822344" y="1042007"/>
                </a:lnTo>
                <a:lnTo>
                  <a:pt x="844875" y="991317"/>
                </a:lnTo>
                <a:lnTo>
                  <a:pt x="873037" y="946257"/>
                </a:lnTo>
                <a:lnTo>
                  <a:pt x="906830" y="904952"/>
                </a:lnTo>
                <a:lnTo>
                  <a:pt x="948135" y="871157"/>
                </a:lnTo>
                <a:lnTo>
                  <a:pt x="993197" y="842995"/>
                </a:lnTo>
                <a:lnTo>
                  <a:pt x="1043887" y="820464"/>
                </a:lnTo>
                <a:lnTo>
                  <a:pt x="1098336" y="801690"/>
                </a:lnTo>
                <a:lnTo>
                  <a:pt x="1152783" y="784792"/>
                </a:lnTo>
                <a:lnTo>
                  <a:pt x="1210986" y="769772"/>
                </a:lnTo>
                <a:lnTo>
                  <a:pt x="1267309" y="754751"/>
                </a:lnTo>
                <a:lnTo>
                  <a:pt x="1323635" y="737854"/>
                </a:lnTo>
                <a:lnTo>
                  <a:pt x="1378082" y="719079"/>
                </a:lnTo>
                <a:lnTo>
                  <a:pt x="1428774" y="696549"/>
                </a:lnTo>
                <a:lnTo>
                  <a:pt x="1475711" y="670266"/>
                </a:lnTo>
                <a:lnTo>
                  <a:pt x="1517016" y="636471"/>
                </a:lnTo>
                <a:lnTo>
                  <a:pt x="1560199" y="598919"/>
                </a:lnTo>
                <a:lnTo>
                  <a:pt x="1597750" y="555737"/>
                </a:lnTo>
                <a:lnTo>
                  <a:pt x="1633422" y="510678"/>
                </a:lnTo>
                <a:lnTo>
                  <a:pt x="1669094" y="463741"/>
                </a:lnTo>
                <a:lnTo>
                  <a:pt x="1704766" y="416803"/>
                </a:lnTo>
                <a:lnTo>
                  <a:pt x="1740438" y="371743"/>
                </a:lnTo>
                <a:lnTo>
                  <a:pt x="1779867" y="328561"/>
                </a:lnTo>
                <a:lnTo>
                  <a:pt x="1819293" y="291012"/>
                </a:lnTo>
                <a:lnTo>
                  <a:pt x="1864354" y="259094"/>
                </a:lnTo>
                <a:lnTo>
                  <a:pt x="1911291" y="234686"/>
                </a:lnTo>
                <a:lnTo>
                  <a:pt x="1967617" y="217789"/>
                </a:lnTo>
                <a:lnTo>
                  <a:pt x="2025819" y="210279"/>
                </a:lnTo>
                <a:lnTo>
                  <a:pt x="2085897" y="208401"/>
                </a:lnTo>
                <a:lnTo>
                  <a:pt x="2149731" y="214035"/>
                </a:lnTo>
                <a:lnTo>
                  <a:pt x="2213567" y="221545"/>
                </a:lnTo>
                <a:lnTo>
                  <a:pt x="2277403" y="230932"/>
                </a:lnTo>
                <a:lnTo>
                  <a:pt x="2341237" y="238443"/>
                </a:lnTo>
                <a:lnTo>
                  <a:pt x="2405071" y="242197"/>
                </a:lnTo>
                <a:lnTo>
                  <a:pt x="2467030" y="242197"/>
                </a:lnTo>
                <a:lnTo>
                  <a:pt x="2525233" y="234686"/>
                </a:lnTo>
                <a:lnTo>
                  <a:pt x="2583436" y="219666"/>
                </a:lnTo>
                <a:lnTo>
                  <a:pt x="2639760" y="197137"/>
                </a:lnTo>
                <a:lnTo>
                  <a:pt x="2696083" y="167096"/>
                </a:lnTo>
                <a:lnTo>
                  <a:pt x="2752409" y="137057"/>
                </a:lnTo>
                <a:lnTo>
                  <a:pt x="2808733" y="103262"/>
                </a:lnTo>
                <a:lnTo>
                  <a:pt x="2863182" y="71344"/>
                </a:lnTo>
                <a:lnTo>
                  <a:pt x="2921385" y="43182"/>
                </a:lnTo>
                <a:lnTo>
                  <a:pt x="2977708" y="20652"/>
                </a:lnTo>
                <a:lnTo>
                  <a:pt x="3035911" y="5631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38" name="Freeform: Shape 78">
            <a:extLst>
              <a:ext uri="{FF2B5EF4-FFF2-40B4-BE49-F238E27FC236}">
                <a16:creationId xmlns:a16="http://schemas.microsoft.com/office/drawing/2014/main" id="{873CA32C-93F1-4FE9-A123-24E2F57F6E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52284" y="419100"/>
            <a:ext cx="2005326" cy="2002888"/>
          </a:xfrm>
          <a:custGeom>
            <a:avLst/>
            <a:gdLst>
              <a:gd name="connsiteX0" fmla="*/ 3095991 w 6191980"/>
              <a:gd name="connsiteY0" fmla="*/ 0 h 6184462"/>
              <a:gd name="connsiteX1" fmla="*/ 3156069 w 6191980"/>
              <a:gd name="connsiteY1" fmla="*/ 5631 h 6184462"/>
              <a:gd name="connsiteX2" fmla="*/ 3214272 w 6191980"/>
              <a:gd name="connsiteY2" fmla="*/ 20652 h 6184462"/>
              <a:gd name="connsiteX3" fmla="*/ 3270598 w 6191980"/>
              <a:gd name="connsiteY3" fmla="*/ 43182 h 6184462"/>
              <a:gd name="connsiteX4" fmla="*/ 3328798 w 6191980"/>
              <a:gd name="connsiteY4" fmla="*/ 71344 h 6184462"/>
              <a:gd name="connsiteX5" fmla="*/ 3383247 w 6191980"/>
              <a:gd name="connsiteY5" fmla="*/ 103262 h 6184462"/>
              <a:gd name="connsiteX6" fmla="*/ 3439573 w 6191980"/>
              <a:gd name="connsiteY6" fmla="*/ 137057 h 6184462"/>
              <a:gd name="connsiteX7" fmla="*/ 3495897 w 6191980"/>
              <a:gd name="connsiteY7" fmla="*/ 167096 h 6184462"/>
              <a:gd name="connsiteX8" fmla="*/ 3552221 w 6191980"/>
              <a:gd name="connsiteY8" fmla="*/ 197137 h 6184462"/>
              <a:gd name="connsiteX9" fmla="*/ 3606669 w 6191980"/>
              <a:gd name="connsiteY9" fmla="*/ 219666 h 6184462"/>
              <a:gd name="connsiteX10" fmla="*/ 3666749 w 6191980"/>
              <a:gd name="connsiteY10" fmla="*/ 234686 h 6184462"/>
              <a:gd name="connsiteX11" fmla="*/ 3724950 w 6191980"/>
              <a:gd name="connsiteY11" fmla="*/ 242197 h 6184462"/>
              <a:gd name="connsiteX12" fmla="*/ 3786907 w 6191980"/>
              <a:gd name="connsiteY12" fmla="*/ 242197 h 6184462"/>
              <a:gd name="connsiteX13" fmla="*/ 3850743 w 6191980"/>
              <a:gd name="connsiteY13" fmla="*/ 238443 h 6184462"/>
              <a:gd name="connsiteX14" fmla="*/ 3914577 w 6191980"/>
              <a:gd name="connsiteY14" fmla="*/ 230932 h 6184462"/>
              <a:gd name="connsiteX15" fmla="*/ 3978413 w 6191980"/>
              <a:gd name="connsiteY15" fmla="*/ 221545 h 6184462"/>
              <a:gd name="connsiteX16" fmla="*/ 4042247 w 6191980"/>
              <a:gd name="connsiteY16" fmla="*/ 214035 h 6184462"/>
              <a:gd name="connsiteX17" fmla="*/ 4106083 w 6191980"/>
              <a:gd name="connsiteY17" fmla="*/ 208401 h 6184462"/>
              <a:gd name="connsiteX18" fmla="*/ 4166161 w 6191980"/>
              <a:gd name="connsiteY18" fmla="*/ 210279 h 6184462"/>
              <a:gd name="connsiteX19" fmla="*/ 4224364 w 6191980"/>
              <a:gd name="connsiteY19" fmla="*/ 217789 h 6184462"/>
              <a:gd name="connsiteX20" fmla="*/ 4280690 w 6191980"/>
              <a:gd name="connsiteY20" fmla="*/ 234686 h 6184462"/>
              <a:gd name="connsiteX21" fmla="*/ 4327628 w 6191980"/>
              <a:gd name="connsiteY21" fmla="*/ 259094 h 6184462"/>
              <a:gd name="connsiteX22" fmla="*/ 4372686 w 6191980"/>
              <a:gd name="connsiteY22" fmla="*/ 291012 h 6184462"/>
              <a:gd name="connsiteX23" fmla="*/ 4412114 w 6191980"/>
              <a:gd name="connsiteY23" fmla="*/ 328561 h 6184462"/>
              <a:gd name="connsiteX24" fmla="*/ 4451542 w 6191980"/>
              <a:gd name="connsiteY24" fmla="*/ 371743 h 6184462"/>
              <a:gd name="connsiteX25" fmla="*/ 4487214 w 6191980"/>
              <a:gd name="connsiteY25" fmla="*/ 416803 h 6184462"/>
              <a:gd name="connsiteX26" fmla="*/ 4522886 w 6191980"/>
              <a:gd name="connsiteY26" fmla="*/ 463741 h 6184462"/>
              <a:gd name="connsiteX27" fmla="*/ 4558559 w 6191980"/>
              <a:gd name="connsiteY27" fmla="*/ 510678 h 6184462"/>
              <a:gd name="connsiteX28" fmla="*/ 4594231 w 6191980"/>
              <a:gd name="connsiteY28" fmla="*/ 555737 h 6184462"/>
              <a:gd name="connsiteX29" fmla="*/ 4631782 w 6191980"/>
              <a:gd name="connsiteY29" fmla="*/ 598919 h 6184462"/>
              <a:gd name="connsiteX30" fmla="*/ 4674964 w 6191980"/>
              <a:gd name="connsiteY30" fmla="*/ 636471 h 6184462"/>
              <a:gd name="connsiteX31" fmla="*/ 4716270 w 6191980"/>
              <a:gd name="connsiteY31" fmla="*/ 670266 h 6184462"/>
              <a:gd name="connsiteX32" fmla="*/ 4763206 w 6191980"/>
              <a:gd name="connsiteY32" fmla="*/ 696549 h 6184462"/>
              <a:gd name="connsiteX33" fmla="*/ 4813899 w 6191980"/>
              <a:gd name="connsiteY33" fmla="*/ 719079 h 6184462"/>
              <a:gd name="connsiteX34" fmla="*/ 4868345 w 6191980"/>
              <a:gd name="connsiteY34" fmla="*/ 737854 h 6184462"/>
              <a:gd name="connsiteX35" fmla="*/ 4924669 w 6191980"/>
              <a:gd name="connsiteY35" fmla="*/ 754751 h 6184462"/>
              <a:gd name="connsiteX36" fmla="*/ 4980995 w 6191980"/>
              <a:gd name="connsiteY36" fmla="*/ 769772 h 6184462"/>
              <a:gd name="connsiteX37" fmla="*/ 5039198 w 6191980"/>
              <a:gd name="connsiteY37" fmla="*/ 784792 h 6184462"/>
              <a:gd name="connsiteX38" fmla="*/ 5093644 w 6191980"/>
              <a:gd name="connsiteY38" fmla="*/ 801690 h 6184462"/>
              <a:gd name="connsiteX39" fmla="*/ 5148091 w 6191980"/>
              <a:gd name="connsiteY39" fmla="*/ 820464 h 6184462"/>
              <a:gd name="connsiteX40" fmla="*/ 5198784 w 6191980"/>
              <a:gd name="connsiteY40" fmla="*/ 842995 h 6184462"/>
              <a:gd name="connsiteX41" fmla="*/ 5243845 w 6191980"/>
              <a:gd name="connsiteY41" fmla="*/ 871157 h 6184462"/>
              <a:gd name="connsiteX42" fmla="*/ 5285151 w 6191980"/>
              <a:gd name="connsiteY42" fmla="*/ 904952 h 6184462"/>
              <a:gd name="connsiteX43" fmla="*/ 5318944 w 6191980"/>
              <a:gd name="connsiteY43" fmla="*/ 946257 h 6184462"/>
              <a:gd name="connsiteX44" fmla="*/ 5347108 w 6191980"/>
              <a:gd name="connsiteY44" fmla="*/ 991317 h 6184462"/>
              <a:gd name="connsiteX45" fmla="*/ 5369636 w 6191980"/>
              <a:gd name="connsiteY45" fmla="*/ 1042007 h 6184462"/>
              <a:gd name="connsiteX46" fmla="*/ 5388410 w 6191980"/>
              <a:gd name="connsiteY46" fmla="*/ 1096456 h 6184462"/>
              <a:gd name="connsiteX47" fmla="*/ 5405308 w 6191980"/>
              <a:gd name="connsiteY47" fmla="*/ 1150903 h 6184462"/>
              <a:gd name="connsiteX48" fmla="*/ 5420328 w 6191980"/>
              <a:gd name="connsiteY48" fmla="*/ 1209105 h 6184462"/>
              <a:gd name="connsiteX49" fmla="*/ 5435349 w 6191980"/>
              <a:gd name="connsiteY49" fmla="*/ 1265429 h 6184462"/>
              <a:gd name="connsiteX50" fmla="*/ 5452246 w 6191980"/>
              <a:gd name="connsiteY50" fmla="*/ 1321755 h 6184462"/>
              <a:gd name="connsiteX51" fmla="*/ 5471021 w 6191980"/>
              <a:gd name="connsiteY51" fmla="*/ 1376203 h 6184462"/>
              <a:gd name="connsiteX52" fmla="*/ 5493550 w 6191980"/>
              <a:gd name="connsiteY52" fmla="*/ 1426896 h 6184462"/>
              <a:gd name="connsiteX53" fmla="*/ 5519836 w 6191980"/>
              <a:gd name="connsiteY53" fmla="*/ 1473832 h 6184462"/>
              <a:gd name="connsiteX54" fmla="*/ 5553632 w 6191980"/>
              <a:gd name="connsiteY54" fmla="*/ 1515138 h 6184462"/>
              <a:gd name="connsiteX55" fmla="*/ 5591181 w 6191980"/>
              <a:gd name="connsiteY55" fmla="*/ 1558320 h 6184462"/>
              <a:gd name="connsiteX56" fmla="*/ 5634364 w 6191980"/>
              <a:gd name="connsiteY56" fmla="*/ 1595869 h 6184462"/>
              <a:gd name="connsiteX57" fmla="*/ 5679425 w 6191980"/>
              <a:gd name="connsiteY57" fmla="*/ 1631541 h 6184462"/>
              <a:gd name="connsiteX58" fmla="*/ 5728238 w 6191980"/>
              <a:gd name="connsiteY58" fmla="*/ 1667213 h 6184462"/>
              <a:gd name="connsiteX59" fmla="*/ 5775175 w 6191980"/>
              <a:gd name="connsiteY59" fmla="*/ 1702885 h 6184462"/>
              <a:gd name="connsiteX60" fmla="*/ 5820236 w 6191980"/>
              <a:gd name="connsiteY60" fmla="*/ 1738560 h 6184462"/>
              <a:gd name="connsiteX61" fmla="*/ 5863416 w 6191980"/>
              <a:gd name="connsiteY61" fmla="*/ 1777986 h 6184462"/>
              <a:gd name="connsiteX62" fmla="*/ 5900968 w 6191980"/>
              <a:gd name="connsiteY62" fmla="*/ 1817414 h 6184462"/>
              <a:gd name="connsiteX63" fmla="*/ 5932886 w 6191980"/>
              <a:gd name="connsiteY63" fmla="*/ 1862474 h 6184462"/>
              <a:gd name="connsiteX64" fmla="*/ 5957294 w 6191980"/>
              <a:gd name="connsiteY64" fmla="*/ 1909410 h 6184462"/>
              <a:gd name="connsiteX65" fmla="*/ 5974191 w 6191980"/>
              <a:gd name="connsiteY65" fmla="*/ 1965736 h 6184462"/>
              <a:gd name="connsiteX66" fmla="*/ 5981700 w 6191980"/>
              <a:gd name="connsiteY66" fmla="*/ 2023938 h 6184462"/>
              <a:gd name="connsiteX67" fmla="*/ 5983578 w 6191980"/>
              <a:gd name="connsiteY67" fmla="*/ 2084018 h 6184462"/>
              <a:gd name="connsiteX68" fmla="*/ 5977945 w 6191980"/>
              <a:gd name="connsiteY68" fmla="*/ 2147852 h 6184462"/>
              <a:gd name="connsiteX69" fmla="*/ 5970435 w 6191980"/>
              <a:gd name="connsiteY69" fmla="*/ 2211686 h 6184462"/>
              <a:gd name="connsiteX70" fmla="*/ 5961048 w 6191980"/>
              <a:gd name="connsiteY70" fmla="*/ 2275522 h 6184462"/>
              <a:gd name="connsiteX71" fmla="*/ 5953538 w 6191980"/>
              <a:gd name="connsiteY71" fmla="*/ 2339356 h 6184462"/>
              <a:gd name="connsiteX72" fmla="*/ 5949784 w 6191980"/>
              <a:gd name="connsiteY72" fmla="*/ 2403192 h 6184462"/>
              <a:gd name="connsiteX73" fmla="*/ 5949784 w 6191980"/>
              <a:gd name="connsiteY73" fmla="*/ 2465149 h 6184462"/>
              <a:gd name="connsiteX74" fmla="*/ 5957294 w 6191980"/>
              <a:gd name="connsiteY74" fmla="*/ 2523350 h 6184462"/>
              <a:gd name="connsiteX75" fmla="*/ 5972312 w 6191980"/>
              <a:gd name="connsiteY75" fmla="*/ 2581552 h 6184462"/>
              <a:gd name="connsiteX76" fmla="*/ 5994843 w 6191980"/>
              <a:gd name="connsiteY76" fmla="*/ 2636001 h 6184462"/>
              <a:gd name="connsiteX77" fmla="*/ 6024884 w 6191980"/>
              <a:gd name="connsiteY77" fmla="*/ 2692325 h 6184462"/>
              <a:gd name="connsiteX78" fmla="*/ 6054922 w 6191980"/>
              <a:gd name="connsiteY78" fmla="*/ 2748651 h 6184462"/>
              <a:gd name="connsiteX79" fmla="*/ 6088718 w 6191980"/>
              <a:gd name="connsiteY79" fmla="*/ 2804974 h 6184462"/>
              <a:gd name="connsiteX80" fmla="*/ 6120634 w 6191980"/>
              <a:gd name="connsiteY80" fmla="*/ 2859423 h 6184462"/>
              <a:gd name="connsiteX81" fmla="*/ 6148798 w 6191980"/>
              <a:gd name="connsiteY81" fmla="*/ 2917624 h 6184462"/>
              <a:gd name="connsiteX82" fmla="*/ 6171326 w 6191980"/>
              <a:gd name="connsiteY82" fmla="*/ 2973950 h 6184462"/>
              <a:gd name="connsiteX83" fmla="*/ 6186347 w 6191980"/>
              <a:gd name="connsiteY83" fmla="*/ 3032152 h 6184462"/>
              <a:gd name="connsiteX84" fmla="*/ 6191980 w 6191980"/>
              <a:gd name="connsiteY84" fmla="*/ 3092230 h 6184462"/>
              <a:gd name="connsiteX85" fmla="*/ 6186347 w 6191980"/>
              <a:gd name="connsiteY85" fmla="*/ 3152310 h 6184462"/>
              <a:gd name="connsiteX86" fmla="*/ 6171326 w 6191980"/>
              <a:gd name="connsiteY86" fmla="*/ 3210513 h 6184462"/>
              <a:gd name="connsiteX87" fmla="*/ 6148798 w 6191980"/>
              <a:gd name="connsiteY87" fmla="*/ 3266839 h 6184462"/>
              <a:gd name="connsiteX88" fmla="*/ 6120634 w 6191980"/>
              <a:gd name="connsiteY88" fmla="*/ 3325039 h 6184462"/>
              <a:gd name="connsiteX89" fmla="*/ 6088718 w 6191980"/>
              <a:gd name="connsiteY89" fmla="*/ 3379488 h 6184462"/>
              <a:gd name="connsiteX90" fmla="*/ 6054922 w 6191980"/>
              <a:gd name="connsiteY90" fmla="*/ 3435814 h 6184462"/>
              <a:gd name="connsiteX91" fmla="*/ 6024884 w 6191980"/>
              <a:gd name="connsiteY91" fmla="*/ 3492137 h 6184462"/>
              <a:gd name="connsiteX92" fmla="*/ 5994843 w 6191980"/>
              <a:gd name="connsiteY92" fmla="*/ 3548461 h 6184462"/>
              <a:gd name="connsiteX93" fmla="*/ 5972312 w 6191980"/>
              <a:gd name="connsiteY93" fmla="*/ 3602910 h 6184462"/>
              <a:gd name="connsiteX94" fmla="*/ 5957294 w 6191980"/>
              <a:gd name="connsiteY94" fmla="*/ 3661113 h 6184462"/>
              <a:gd name="connsiteX95" fmla="*/ 5949784 w 6191980"/>
              <a:gd name="connsiteY95" fmla="*/ 3719313 h 6184462"/>
              <a:gd name="connsiteX96" fmla="*/ 5949784 w 6191980"/>
              <a:gd name="connsiteY96" fmla="*/ 3781272 h 6184462"/>
              <a:gd name="connsiteX97" fmla="*/ 5953538 w 6191980"/>
              <a:gd name="connsiteY97" fmla="*/ 3845106 h 6184462"/>
              <a:gd name="connsiteX98" fmla="*/ 5961048 w 6191980"/>
              <a:gd name="connsiteY98" fmla="*/ 3908940 h 6184462"/>
              <a:gd name="connsiteX99" fmla="*/ 5970435 w 6191980"/>
              <a:gd name="connsiteY99" fmla="*/ 3972776 h 6184462"/>
              <a:gd name="connsiteX100" fmla="*/ 5977945 w 6191980"/>
              <a:gd name="connsiteY100" fmla="*/ 4036610 h 6184462"/>
              <a:gd name="connsiteX101" fmla="*/ 5983578 w 6191980"/>
              <a:gd name="connsiteY101" fmla="*/ 4100444 h 6184462"/>
              <a:gd name="connsiteX102" fmla="*/ 5981700 w 6191980"/>
              <a:gd name="connsiteY102" fmla="*/ 4160526 h 6184462"/>
              <a:gd name="connsiteX103" fmla="*/ 5974191 w 6191980"/>
              <a:gd name="connsiteY103" fmla="*/ 4218729 h 6184462"/>
              <a:gd name="connsiteX104" fmla="*/ 5957294 w 6191980"/>
              <a:gd name="connsiteY104" fmla="*/ 4275053 h 6184462"/>
              <a:gd name="connsiteX105" fmla="*/ 5932886 w 6191980"/>
              <a:gd name="connsiteY105" fmla="*/ 4321989 h 6184462"/>
              <a:gd name="connsiteX106" fmla="*/ 5900968 w 6191980"/>
              <a:gd name="connsiteY106" fmla="*/ 4367050 h 6184462"/>
              <a:gd name="connsiteX107" fmla="*/ 5863416 w 6191980"/>
              <a:gd name="connsiteY107" fmla="*/ 4406477 h 6184462"/>
              <a:gd name="connsiteX108" fmla="*/ 5820236 w 6191980"/>
              <a:gd name="connsiteY108" fmla="*/ 4445903 h 6184462"/>
              <a:gd name="connsiteX109" fmla="*/ 5775175 w 6191980"/>
              <a:gd name="connsiteY109" fmla="*/ 4481577 h 6184462"/>
              <a:gd name="connsiteX110" fmla="*/ 5728238 w 6191980"/>
              <a:gd name="connsiteY110" fmla="*/ 4517249 h 6184462"/>
              <a:gd name="connsiteX111" fmla="*/ 5679425 w 6191980"/>
              <a:gd name="connsiteY111" fmla="*/ 4552921 h 6184462"/>
              <a:gd name="connsiteX112" fmla="*/ 5634364 w 6191980"/>
              <a:gd name="connsiteY112" fmla="*/ 4588593 h 6184462"/>
              <a:gd name="connsiteX113" fmla="*/ 5591181 w 6191980"/>
              <a:gd name="connsiteY113" fmla="*/ 4626142 h 6184462"/>
              <a:gd name="connsiteX114" fmla="*/ 5553632 w 6191980"/>
              <a:gd name="connsiteY114" fmla="*/ 4669325 h 6184462"/>
              <a:gd name="connsiteX115" fmla="*/ 5519836 w 6191980"/>
              <a:gd name="connsiteY115" fmla="*/ 4710630 h 6184462"/>
              <a:gd name="connsiteX116" fmla="*/ 5493550 w 6191980"/>
              <a:gd name="connsiteY116" fmla="*/ 4757566 h 6184462"/>
              <a:gd name="connsiteX117" fmla="*/ 5471021 w 6191980"/>
              <a:gd name="connsiteY117" fmla="*/ 4808259 h 6184462"/>
              <a:gd name="connsiteX118" fmla="*/ 5452246 w 6191980"/>
              <a:gd name="connsiteY118" fmla="*/ 4862708 h 6184462"/>
              <a:gd name="connsiteX119" fmla="*/ 5435349 w 6191980"/>
              <a:gd name="connsiteY119" fmla="*/ 4919033 h 6184462"/>
              <a:gd name="connsiteX120" fmla="*/ 5420328 w 6191980"/>
              <a:gd name="connsiteY120" fmla="*/ 4975357 h 6184462"/>
              <a:gd name="connsiteX121" fmla="*/ 5405308 w 6191980"/>
              <a:gd name="connsiteY121" fmla="*/ 5033560 h 6184462"/>
              <a:gd name="connsiteX122" fmla="*/ 5388410 w 6191980"/>
              <a:gd name="connsiteY122" fmla="*/ 5088007 h 6184462"/>
              <a:gd name="connsiteX123" fmla="*/ 5369636 w 6191980"/>
              <a:gd name="connsiteY123" fmla="*/ 5142453 h 6184462"/>
              <a:gd name="connsiteX124" fmla="*/ 5347108 w 6191980"/>
              <a:gd name="connsiteY124" fmla="*/ 5193146 h 6184462"/>
              <a:gd name="connsiteX125" fmla="*/ 5318944 w 6191980"/>
              <a:gd name="connsiteY125" fmla="*/ 5238207 h 6184462"/>
              <a:gd name="connsiteX126" fmla="*/ 5285151 w 6191980"/>
              <a:gd name="connsiteY126" fmla="*/ 5279510 h 6184462"/>
              <a:gd name="connsiteX127" fmla="*/ 5243845 w 6191980"/>
              <a:gd name="connsiteY127" fmla="*/ 5313305 h 6184462"/>
              <a:gd name="connsiteX128" fmla="*/ 5198784 w 6191980"/>
              <a:gd name="connsiteY128" fmla="*/ 5341467 h 6184462"/>
              <a:gd name="connsiteX129" fmla="*/ 5148091 w 6191980"/>
              <a:gd name="connsiteY129" fmla="*/ 5363998 h 6184462"/>
              <a:gd name="connsiteX130" fmla="*/ 5093644 w 6191980"/>
              <a:gd name="connsiteY130" fmla="*/ 5382773 h 6184462"/>
              <a:gd name="connsiteX131" fmla="*/ 5039198 w 6191980"/>
              <a:gd name="connsiteY131" fmla="*/ 5399670 h 6184462"/>
              <a:gd name="connsiteX132" fmla="*/ 4980995 w 6191980"/>
              <a:gd name="connsiteY132" fmla="*/ 5414691 h 6184462"/>
              <a:gd name="connsiteX133" fmla="*/ 4924669 w 6191980"/>
              <a:gd name="connsiteY133" fmla="*/ 5429711 h 6184462"/>
              <a:gd name="connsiteX134" fmla="*/ 4868345 w 6191980"/>
              <a:gd name="connsiteY134" fmla="*/ 5446609 h 6184462"/>
              <a:gd name="connsiteX135" fmla="*/ 4813899 w 6191980"/>
              <a:gd name="connsiteY135" fmla="*/ 5465383 h 6184462"/>
              <a:gd name="connsiteX136" fmla="*/ 4763206 w 6191980"/>
              <a:gd name="connsiteY136" fmla="*/ 5487914 h 6184462"/>
              <a:gd name="connsiteX137" fmla="*/ 4716270 w 6191980"/>
              <a:gd name="connsiteY137" fmla="*/ 5514197 h 6184462"/>
              <a:gd name="connsiteX138" fmla="*/ 4674964 w 6191980"/>
              <a:gd name="connsiteY138" fmla="*/ 5547992 h 6184462"/>
              <a:gd name="connsiteX139" fmla="*/ 4631782 w 6191980"/>
              <a:gd name="connsiteY139" fmla="*/ 5585543 h 6184462"/>
              <a:gd name="connsiteX140" fmla="*/ 4594231 w 6191980"/>
              <a:gd name="connsiteY140" fmla="*/ 5628725 h 6184462"/>
              <a:gd name="connsiteX141" fmla="*/ 4558559 w 6191980"/>
              <a:gd name="connsiteY141" fmla="*/ 5673785 h 6184462"/>
              <a:gd name="connsiteX142" fmla="*/ 4522886 w 6191980"/>
              <a:gd name="connsiteY142" fmla="*/ 5720721 h 6184462"/>
              <a:gd name="connsiteX143" fmla="*/ 4487214 w 6191980"/>
              <a:gd name="connsiteY143" fmla="*/ 5767659 h 6184462"/>
              <a:gd name="connsiteX144" fmla="*/ 4451542 w 6191980"/>
              <a:gd name="connsiteY144" fmla="*/ 5812719 h 6184462"/>
              <a:gd name="connsiteX145" fmla="*/ 4412114 w 6191980"/>
              <a:gd name="connsiteY145" fmla="*/ 5855901 h 6184462"/>
              <a:gd name="connsiteX146" fmla="*/ 4372686 w 6191980"/>
              <a:gd name="connsiteY146" fmla="*/ 5893450 h 6184462"/>
              <a:gd name="connsiteX147" fmla="*/ 4327628 w 6191980"/>
              <a:gd name="connsiteY147" fmla="*/ 5925368 h 6184462"/>
              <a:gd name="connsiteX148" fmla="*/ 4280690 w 6191980"/>
              <a:gd name="connsiteY148" fmla="*/ 5949776 h 6184462"/>
              <a:gd name="connsiteX149" fmla="*/ 4224364 w 6191980"/>
              <a:gd name="connsiteY149" fmla="*/ 5966674 h 6184462"/>
              <a:gd name="connsiteX150" fmla="*/ 4166161 w 6191980"/>
              <a:gd name="connsiteY150" fmla="*/ 5974184 h 6184462"/>
              <a:gd name="connsiteX151" fmla="*/ 4106083 w 6191980"/>
              <a:gd name="connsiteY151" fmla="*/ 5976061 h 6184462"/>
              <a:gd name="connsiteX152" fmla="*/ 4042247 w 6191980"/>
              <a:gd name="connsiteY152" fmla="*/ 5970428 h 6184462"/>
              <a:gd name="connsiteX153" fmla="*/ 3978413 w 6191980"/>
              <a:gd name="connsiteY153" fmla="*/ 5962919 h 6184462"/>
              <a:gd name="connsiteX154" fmla="*/ 3914577 w 6191980"/>
              <a:gd name="connsiteY154" fmla="*/ 5953530 h 6184462"/>
              <a:gd name="connsiteX155" fmla="*/ 3850743 w 6191980"/>
              <a:gd name="connsiteY155" fmla="*/ 5946022 h 6184462"/>
              <a:gd name="connsiteX156" fmla="*/ 3786907 w 6191980"/>
              <a:gd name="connsiteY156" fmla="*/ 5942266 h 6184462"/>
              <a:gd name="connsiteX157" fmla="*/ 3724950 w 6191980"/>
              <a:gd name="connsiteY157" fmla="*/ 5942266 h 6184462"/>
              <a:gd name="connsiteX158" fmla="*/ 3666749 w 6191980"/>
              <a:gd name="connsiteY158" fmla="*/ 5949776 h 6184462"/>
              <a:gd name="connsiteX159" fmla="*/ 3606669 w 6191980"/>
              <a:gd name="connsiteY159" fmla="*/ 5964797 h 6184462"/>
              <a:gd name="connsiteX160" fmla="*/ 3552221 w 6191980"/>
              <a:gd name="connsiteY160" fmla="*/ 5987325 h 6184462"/>
              <a:gd name="connsiteX161" fmla="*/ 3495897 w 6191980"/>
              <a:gd name="connsiteY161" fmla="*/ 6017366 h 6184462"/>
              <a:gd name="connsiteX162" fmla="*/ 3439573 w 6191980"/>
              <a:gd name="connsiteY162" fmla="*/ 6047407 h 6184462"/>
              <a:gd name="connsiteX163" fmla="*/ 3383247 w 6191980"/>
              <a:gd name="connsiteY163" fmla="*/ 6081200 h 6184462"/>
              <a:gd name="connsiteX164" fmla="*/ 3328798 w 6191980"/>
              <a:gd name="connsiteY164" fmla="*/ 6113118 h 6184462"/>
              <a:gd name="connsiteX165" fmla="*/ 3270598 w 6191980"/>
              <a:gd name="connsiteY165" fmla="*/ 6141280 h 6184462"/>
              <a:gd name="connsiteX166" fmla="*/ 3214272 w 6191980"/>
              <a:gd name="connsiteY166" fmla="*/ 6163811 h 6184462"/>
              <a:gd name="connsiteX167" fmla="*/ 3156069 w 6191980"/>
              <a:gd name="connsiteY167" fmla="*/ 6178831 h 6184462"/>
              <a:gd name="connsiteX168" fmla="*/ 3095991 w 6191980"/>
              <a:gd name="connsiteY168" fmla="*/ 6184462 h 6184462"/>
              <a:gd name="connsiteX169" fmla="*/ 3035911 w 6191980"/>
              <a:gd name="connsiteY169" fmla="*/ 6178831 h 6184462"/>
              <a:gd name="connsiteX170" fmla="*/ 2977708 w 6191980"/>
              <a:gd name="connsiteY170" fmla="*/ 6163811 h 6184462"/>
              <a:gd name="connsiteX171" fmla="*/ 2921385 w 6191980"/>
              <a:gd name="connsiteY171" fmla="*/ 6141280 h 6184462"/>
              <a:gd name="connsiteX172" fmla="*/ 2863182 w 6191980"/>
              <a:gd name="connsiteY172" fmla="*/ 6113118 h 6184462"/>
              <a:gd name="connsiteX173" fmla="*/ 2808733 w 6191980"/>
              <a:gd name="connsiteY173" fmla="*/ 6081200 h 6184462"/>
              <a:gd name="connsiteX174" fmla="*/ 2752409 w 6191980"/>
              <a:gd name="connsiteY174" fmla="*/ 6047407 h 6184462"/>
              <a:gd name="connsiteX175" fmla="*/ 2696083 w 6191980"/>
              <a:gd name="connsiteY175" fmla="*/ 6017366 h 6184462"/>
              <a:gd name="connsiteX176" fmla="*/ 2639760 w 6191980"/>
              <a:gd name="connsiteY176" fmla="*/ 5987325 h 6184462"/>
              <a:gd name="connsiteX177" fmla="*/ 2583436 w 6191980"/>
              <a:gd name="connsiteY177" fmla="*/ 5964797 h 6184462"/>
              <a:gd name="connsiteX178" fmla="*/ 2525233 w 6191980"/>
              <a:gd name="connsiteY178" fmla="*/ 5949776 h 6184462"/>
              <a:gd name="connsiteX179" fmla="*/ 2467030 w 6191980"/>
              <a:gd name="connsiteY179" fmla="*/ 5942266 h 6184462"/>
              <a:gd name="connsiteX180" fmla="*/ 2405071 w 6191980"/>
              <a:gd name="connsiteY180" fmla="*/ 5942266 h 6184462"/>
              <a:gd name="connsiteX181" fmla="*/ 2341237 w 6191980"/>
              <a:gd name="connsiteY181" fmla="*/ 5946022 h 6184462"/>
              <a:gd name="connsiteX182" fmla="*/ 2277403 w 6191980"/>
              <a:gd name="connsiteY182" fmla="*/ 5953530 h 6184462"/>
              <a:gd name="connsiteX183" fmla="*/ 2213567 w 6191980"/>
              <a:gd name="connsiteY183" fmla="*/ 5962919 h 6184462"/>
              <a:gd name="connsiteX184" fmla="*/ 2149731 w 6191980"/>
              <a:gd name="connsiteY184" fmla="*/ 5970428 h 6184462"/>
              <a:gd name="connsiteX185" fmla="*/ 2085897 w 6191980"/>
              <a:gd name="connsiteY185" fmla="*/ 5976061 h 6184462"/>
              <a:gd name="connsiteX186" fmla="*/ 2025819 w 6191980"/>
              <a:gd name="connsiteY186" fmla="*/ 5974184 h 6184462"/>
              <a:gd name="connsiteX187" fmla="*/ 1967617 w 6191980"/>
              <a:gd name="connsiteY187" fmla="*/ 5966674 h 6184462"/>
              <a:gd name="connsiteX188" fmla="*/ 1911291 w 6191980"/>
              <a:gd name="connsiteY188" fmla="*/ 5949776 h 6184462"/>
              <a:gd name="connsiteX189" fmla="*/ 1864354 w 6191980"/>
              <a:gd name="connsiteY189" fmla="*/ 5925368 h 6184462"/>
              <a:gd name="connsiteX190" fmla="*/ 1819293 w 6191980"/>
              <a:gd name="connsiteY190" fmla="*/ 5893450 h 6184462"/>
              <a:gd name="connsiteX191" fmla="*/ 1779867 w 6191980"/>
              <a:gd name="connsiteY191" fmla="*/ 5855901 h 6184462"/>
              <a:gd name="connsiteX192" fmla="*/ 1740438 w 6191980"/>
              <a:gd name="connsiteY192" fmla="*/ 5812719 h 6184462"/>
              <a:gd name="connsiteX193" fmla="*/ 1704766 w 6191980"/>
              <a:gd name="connsiteY193" fmla="*/ 5767659 h 6184462"/>
              <a:gd name="connsiteX194" fmla="*/ 1669094 w 6191980"/>
              <a:gd name="connsiteY194" fmla="*/ 5720721 h 6184462"/>
              <a:gd name="connsiteX195" fmla="*/ 1633422 w 6191980"/>
              <a:gd name="connsiteY195" fmla="*/ 5673785 h 6184462"/>
              <a:gd name="connsiteX196" fmla="*/ 1597750 w 6191980"/>
              <a:gd name="connsiteY196" fmla="*/ 5628725 h 6184462"/>
              <a:gd name="connsiteX197" fmla="*/ 1560199 w 6191980"/>
              <a:gd name="connsiteY197" fmla="*/ 5585543 h 6184462"/>
              <a:gd name="connsiteX198" fmla="*/ 1517016 w 6191980"/>
              <a:gd name="connsiteY198" fmla="*/ 5547992 h 6184462"/>
              <a:gd name="connsiteX199" fmla="*/ 1475711 w 6191980"/>
              <a:gd name="connsiteY199" fmla="*/ 5514197 h 6184462"/>
              <a:gd name="connsiteX200" fmla="*/ 1428774 w 6191980"/>
              <a:gd name="connsiteY200" fmla="*/ 5487914 h 6184462"/>
              <a:gd name="connsiteX201" fmla="*/ 1378082 w 6191980"/>
              <a:gd name="connsiteY201" fmla="*/ 5465383 h 6184462"/>
              <a:gd name="connsiteX202" fmla="*/ 1323635 w 6191980"/>
              <a:gd name="connsiteY202" fmla="*/ 5446609 h 6184462"/>
              <a:gd name="connsiteX203" fmla="*/ 1267309 w 6191980"/>
              <a:gd name="connsiteY203" fmla="*/ 5429711 h 6184462"/>
              <a:gd name="connsiteX204" fmla="*/ 1210986 w 6191980"/>
              <a:gd name="connsiteY204" fmla="*/ 5414691 h 6184462"/>
              <a:gd name="connsiteX205" fmla="*/ 1152783 w 6191980"/>
              <a:gd name="connsiteY205" fmla="*/ 5399670 h 6184462"/>
              <a:gd name="connsiteX206" fmla="*/ 1098336 w 6191980"/>
              <a:gd name="connsiteY206" fmla="*/ 5382773 h 6184462"/>
              <a:gd name="connsiteX207" fmla="*/ 1043887 w 6191980"/>
              <a:gd name="connsiteY207" fmla="*/ 5363998 h 6184462"/>
              <a:gd name="connsiteX208" fmla="*/ 993197 w 6191980"/>
              <a:gd name="connsiteY208" fmla="*/ 5341467 h 6184462"/>
              <a:gd name="connsiteX209" fmla="*/ 948135 w 6191980"/>
              <a:gd name="connsiteY209" fmla="*/ 5313305 h 6184462"/>
              <a:gd name="connsiteX210" fmla="*/ 906830 w 6191980"/>
              <a:gd name="connsiteY210" fmla="*/ 5279510 h 6184462"/>
              <a:gd name="connsiteX211" fmla="*/ 873037 w 6191980"/>
              <a:gd name="connsiteY211" fmla="*/ 5238207 h 6184462"/>
              <a:gd name="connsiteX212" fmla="*/ 844875 w 6191980"/>
              <a:gd name="connsiteY212" fmla="*/ 5193146 h 6184462"/>
              <a:gd name="connsiteX213" fmla="*/ 822344 w 6191980"/>
              <a:gd name="connsiteY213" fmla="*/ 5142453 h 6184462"/>
              <a:gd name="connsiteX214" fmla="*/ 803570 w 6191980"/>
              <a:gd name="connsiteY214" fmla="*/ 5088007 h 6184462"/>
              <a:gd name="connsiteX215" fmla="*/ 786672 w 6191980"/>
              <a:gd name="connsiteY215" fmla="*/ 5033560 h 6184462"/>
              <a:gd name="connsiteX216" fmla="*/ 771652 w 6191980"/>
              <a:gd name="connsiteY216" fmla="*/ 4975357 h 6184462"/>
              <a:gd name="connsiteX217" fmla="*/ 756631 w 6191980"/>
              <a:gd name="connsiteY217" fmla="*/ 4919033 h 6184462"/>
              <a:gd name="connsiteX218" fmla="*/ 739734 w 6191980"/>
              <a:gd name="connsiteY218" fmla="*/ 4862708 h 6184462"/>
              <a:gd name="connsiteX219" fmla="*/ 720959 w 6191980"/>
              <a:gd name="connsiteY219" fmla="*/ 4808259 h 6184462"/>
              <a:gd name="connsiteX220" fmla="*/ 698428 w 6191980"/>
              <a:gd name="connsiteY220" fmla="*/ 4757566 h 6184462"/>
              <a:gd name="connsiteX221" fmla="*/ 672143 w 6191980"/>
              <a:gd name="connsiteY221" fmla="*/ 4710630 h 6184462"/>
              <a:gd name="connsiteX222" fmla="*/ 638351 w 6191980"/>
              <a:gd name="connsiteY222" fmla="*/ 4669325 h 6184462"/>
              <a:gd name="connsiteX223" fmla="*/ 600799 w 6191980"/>
              <a:gd name="connsiteY223" fmla="*/ 4626142 h 6184462"/>
              <a:gd name="connsiteX224" fmla="*/ 557617 w 6191980"/>
              <a:gd name="connsiteY224" fmla="*/ 4588593 h 6184462"/>
              <a:gd name="connsiteX225" fmla="*/ 510678 w 6191980"/>
              <a:gd name="connsiteY225" fmla="*/ 4552921 h 6184462"/>
              <a:gd name="connsiteX226" fmla="*/ 463742 w 6191980"/>
              <a:gd name="connsiteY226" fmla="*/ 4517249 h 6184462"/>
              <a:gd name="connsiteX227" fmla="*/ 416805 w 6191980"/>
              <a:gd name="connsiteY227" fmla="*/ 4481577 h 6184462"/>
              <a:gd name="connsiteX228" fmla="*/ 371744 w 6191980"/>
              <a:gd name="connsiteY228" fmla="*/ 4445903 h 6184462"/>
              <a:gd name="connsiteX229" fmla="*/ 328562 w 6191980"/>
              <a:gd name="connsiteY229" fmla="*/ 4406477 h 6184462"/>
              <a:gd name="connsiteX230" fmla="*/ 291012 w 6191980"/>
              <a:gd name="connsiteY230" fmla="*/ 4367050 h 6184462"/>
              <a:gd name="connsiteX231" fmla="*/ 259096 w 6191980"/>
              <a:gd name="connsiteY231" fmla="*/ 4321989 h 6184462"/>
              <a:gd name="connsiteX232" fmla="*/ 234689 w 6191980"/>
              <a:gd name="connsiteY232" fmla="*/ 4275053 h 6184462"/>
              <a:gd name="connsiteX233" fmla="*/ 217791 w 6191980"/>
              <a:gd name="connsiteY233" fmla="*/ 4218729 h 6184462"/>
              <a:gd name="connsiteX234" fmla="*/ 210281 w 6191980"/>
              <a:gd name="connsiteY234" fmla="*/ 4160526 h 6184462"/>
              <a:gd name="connsiteX235" fmla="*/ 208402 w 6191980"/>
              <a:gd name="connsiteY235" fmla="*/ 4100444 h 6184462"/>
              <a:gd name="connsiteX236" fmla="*/ 214035 w 6191980"/>
              <a:gd name="connsiteY236" fmla="*/ 4036610 h 6184462"/>
              <a:gd name="connsiteX237" fmla="*/ 221545 w 6191980"/>
              <a:gd name="connsiteY237" fmla="*/ 3972776 h 6184462"/>
              <a:gd name="connsiteX238" fmla="*/ 230932 w 6191980"/>
              <a:gd name="connsiteY238" fmla="*/ 3908940 h 6184462"/>
              <a:gd name="connsiteX239" fmla="*/ 238443 w 6191980"/>
              <a:gd name="connsiteY239" fmla="*/ 3845106 h 6184462"/>
              <a:gd name="connsiteX240" fmla="*/ 242199 w 6191980"/>
              <a:gd name="connsiteY240" fmla="*/ 3781272 h 6184462"/>
              <a:gd name="connsiteX241" fmla="*/ 242199 w 6191980"/>
              <a:gd name="connsiteY241" fmla="*/ 3719313 h 6184462"/>
              <a:gd name="connsiteX242" fmla="*/ 234689 w 6191980"/>
              <a:gd name="connsiteY242" fmla="*/ 3661113 h 6184462"/>
              <a:gd name="connsiteX243" fmla="*/ 219668 w 6191980"/>
              <a:gd name="connsiteY243" fmla="*/ 3602910 h 6184462"/>
              <a:gd name="connsiteX244" fmla="*/ 197138 w 6191980"/>
              <a:gd name="connsiteY244" fmla="*/ 3548461 h 6184462"/>
              <a:gd name="connsiteX245" fmla="*/ 168976 w 6191980"/>
              <a:gd name="connsiteY245" fmla="*/ 3492137 h 6184462"/>
              <a:gd name="connsiteX246" fmla="*/ 137057 w 6191980"/>
              <a:gd name="connsiteY246" fmla="*/ 3435814 h 6184462"/>
              <a:gd name="connsiteX247" fmla="*/ 103264 w 6191980"/>
              <a:gd name="connsiteY247" fmla="*/ 3379488 h 6184462"/>
              <a:gd name="connsiteX248" fmla="*/ 71346 w 6191980"/>
              <a:gd name="connsiteY248" fmla="*/ 3325039 h 6184462"/>
              <a:gd name="connsiteX249" fmla="*/ 43182 w 6191980"/>
              <a:gd name="connsiteY249" fmla="*/ 3266839 h 6184462"/>
              <a:gd name="connsiteX250" fmla="*/ 20654 w 6191980"/>
              <a:gd name="connsiteY250" fmla="*/ 3210513 h 6184462"/>
              <a:gd name="connsiteX251" fmla="*/ 5634 w 6191980"/>
              <a:gd name="connsiteY251" fmla="*/ 3152310 h 6184462"/>
              <a:gd name="connsiteX252" fmla="*/ 0 w 6191980"/>
              <a:gd name="connsiteY252" fmla="*/ 3092230 h 6184462"/>
              <a:gd name="connsiteX253" fmla="*/ 5634 w 6191980"/>
              <a:gd name="connsiteY253" fmla="*/ 3032152 h 6184462"/>
              <a:gd name="connsiteX254" fmla="*/ 20654 w 6191980"/>
              <a:gd name="connsiteY254" fmla="*/ 2973950 h 6184462"/>
              <a:gd name="connsiteX255" fmla="*/ 43182 w 6191980"/>
              <a:gd name="connsiteY255" fmla="*/ 2917624 h 6184462"/>
              <a:gd name="connsiteX256" fmla="*/ 71346 w 6191980"/>
              <a:gd name="connsiteY256" fmla="*/ 2859423 h 6184462"/>
              <a:gd name="connsiteX257" fmla="*/ 103264 w 6191980"/>
              <a:gd name="connsiteY257" fmla="*/ 2804974 h 6184462"/>
              <a:gd name="connsiteX258" fmla="*/ 137057 w 6191980"/>
              <a:gd name="connsiteY258" fmla="*/ 2748651 h 6184462"/>
              <a:gd name="connsiteX259" fmla="*/ 168976 w 6191980"/>
              <a:gd name="connsiteY259" fmla="*/ 2692325 h 6184462"/>
              <a:gd name="connsiteX260" fmla="*/ 197138 w 6191980"/>
              <a:gd name="connsiteY260" fmla="*/ 2636001 h 6184462"/>
              <a:gd name="connsiteX261" fmla="*/ 219668 w 6191980"/>
              <a:gd name="connsiteY261" fmla="*/ 2581552 h 6184462"/>
              <a:gd name="connsiteX262" fmla="*/ 234689 w 6191980"/>
              <a:gd name="connsiteY262" fmla="*/ 2523350 h 6184462"/>
              <a:gd name="connsiteX263" fmla="*/ 242199 w 6191980"/>
              <a:gd name="connsiteY263" fmla="*/ 2465149 h 6184462"/>
              <a:gd name="connsiteX264" fmla="*/ 242199 w 6191980"/>
              <a:gd name="connsiteY264" fmla="*/ 2403192 h 6184462"/>
              <a:gd name="connsiteX265" fmla="*/ 238443 w 6191980"/>
              <a:gd name="connsiteY265" fmla="*/ 2339356 h 6184462"/>
              <a:gd name="connsiteX266" fmla="*/ 230932 w 6191980"/>
              <a:gd name="connsiteY266" fmla="*/ 2275522 h 6184462"/>
              <a:gd name="connsiteX267" fmla="*/ 221545 w 6191980"/>
              <a:gd name="connsiteY267" fmla="*/ 2211686 h 6184462"/>
              <a:gd name="connsiteX268" fmla="*/ 214035 w 6191980"/>
              <a:gd name="connsiteY268" fmla="*/ 2147852 h 6184462"/>
              <a:gd name="connsiteX269" fmla="*/ 208402 w 6191980"/>
              <a:gd name="connsiteY269" fmla="*/ 2084018 h 6184462"/>
              <a:gd name="connsiteX270" fmla="*/ 210281 w 6191980"/>
              <a:gd name="connsiteY270" fmla="*/ 2023938 h 6184462"/>
              <a:gd name="connsiteX271" fmla="*/ 217791 w 6191980"/>
              <a:gd name="connsiteY271" fmla="*/ 1965736 h 6184462"/>
              <a:gd name="connsiteX272" fmla="*/ 234689 w 6191980"/>
              <a:gd name="connsiteY272" fmla="*/ 1909410 h 6184462"/>
              <a:gd name="connsiteX273" fmla="*/ 259096 w 6191980"/>
              <a:gd name="connsiteY273" fmla="*/ 1862474 h 6184462"/>
              <a:gd name="connsiteX274" fmla="*/ 291012 w 6191980"/>
              <a:gd name="connsiteY274" fmla="*/ 1817414 h 6184462"/>
              <a:gd name="connsiteX275" fmla="*/ 328562 w 6191980"/>
              <a:gd name="connsiteY275" fmla="*/ 1777986 h 6184462"/>
              <a:gd name="connsiteX276" fmla="*/ 371744 w 6191980"/>
              <a:gd name="connsiteY276" fmla="*/ 1738560 h 6184462"/>
              <a:gd name="connsiteX277" fmla="*/ 416805 w 6191980"/>
              <a:gd name="connsiteY277" fmla="*/ 1702885 h 6184462"/>
              <a:gd name="connsiteX278" fmla="*/ 463742 w 6191980"/>
              <a:gd name="connsiteY278" fmla="*/ 1667213 h 6184462"/>
              <a:gd name="connsiteX279" fmla="*/ 510678 w 6191980"/>
              <a:gd name="connsiteY279" fmla="*/ 1631541 h 6184462"/>
              <a:gd name="connsiteX280" fmla="*/ 557617 w 6191980"/>
              <a:gd name="connsiteY280" fmla="*/ 1595869 h 6184462"/>
              <a:gd name="connsiteX281" fmla="*/ 600799 w 6191980"/>
              <a:gd name="connsiteY281" fmla="*/ 1558320 h 6184462"/>
              <a:gd name="connsiteX282" fmla="*/ 638351 w 6191980"/>
              <a:gd name="connsiteY282" fmla="*/ 1515138 h 6184462"/>
              <a:gd name="connsiteX283" fmla="*/ 672143 w 6191980"/>
              <a:gd name="connsiteY283" fmla="*/ 1473832 h 6184462"/>
              <a:gd name="connsiteX284" fmla="*/ 698428 w 6191980"/>
              <a:gd name="connsiteY284" fmla="*/ 1426896 h 6184462"/>
              <a:gd name="connsiteX285" fmla="*/ 720959 w 6191980"/>
              <a:gd name="connsiteY285" fmla="*/ 1376203 h 6184462"/>
              <a:gd name="connsiteX286" fmla="*/ 739734 w 6191980"/>
              <a:gd name="connsiteY286" fmla="*/ 1321755 h 6184462"/>
              <a:gd name="connsiteX287" fmla="*/ 756631 w 6191980"/>
              <a:gd name="connsiteY287" fmla="*/ 1265429 h 6184462"/>
              <a:gd name="connsiteX288" fmla="*/ 771652 w 6191980"/>
              <a:gd name="connsiteY288" fmla="*/ 1209105 h 6184462"/>
              <a:gd name="connsiteX289" fmla="*/ 786672 w 6191980"/>
              <a:gd name="connsiteY289" fmla="*/ 1150903 h 6184462"/>
              <a:gd name="connsiteX290" fmla="*/ 803570 w 6191980"/>
              <a:gd name="connsiteY290" fmla="*/ 1096456 h 6184462"/>
              <a:gd name="connsiteX291" fmla="*/ 822344 w 6191980"/>
              <a:gd name="connsiteY291" fmla="*/ 1042007 h 6184462"/>
              <a:gd name="connsiteX292" fmla="*/ 844875 w 6191980"/>
              <a:gd name="connsiteY292" fmla="*/ 991317 h 6184462"/>
              <a:gd name="connsiteX293" fmla="*/ 873037 w 6191980"/>
              <a:gd name="connsiteY293" fmla="*/ 946257 h 6184462"/>
              <a:gd name="connsiteX294" fmla="*/ 906830 w 6191980"/>
              <a:gd name="connsiteY294" fmla="*/ 904952 h 6184462"/>
              <a:gd name="connsiteX295" fmla="*/ 948135 w 6191980"/>
              <a:gd name="connsiteY295" fmla="*/ 871157 h 6184462"/>
              <a:gd name="connsiteX296" fmla="*/ 993197 w 6191980"/>
              <a:gd name="connsiteY296" fmla="*/ 842995 h 6184462"/>
              <a:gd name="connsiteX297" fmla="*/ 1043887 w 6191980"/>
              <a:gd name="connsiteY297" fmla="*/ 820464 h 6184462"/>
              <a:gd name="connsiteX298" fmla="*/ 1098336 w 6191980"/>
              <a:gd name="connsiteY298" fmla="*/ 801690 h 6184462"/>
              <a:gd name="connsiteX299" fmla="*/ 1152783 w 6191980"/>
              <a:gd name="connsiteY299" fmla="*/ 784792 h 6184462"/>
              <a:gd name="connsiteX300" fmla="*/ 1210986 w 6191980"/>
              <a:gd name="connsiteY300" fmla="*/ 769772 h 6184462"/>
              <a:gd name="connsiteX301" fmla="*/ 1267309 w 6191980"/>
              <a:gd name="connsiteY301" fmla="*/ 754751 h 6184462"/>
              <a:gd name="connsiteX302" fmla="*/ 1323635 w 6191980"/>
              <a:gd name="connsiteY302" fmla="*/ 737854 h 6184462"/>
              <a:gd name="connsiteX303" fmla="*/ 1378082 w 6191980"/>
              <a:gd name="connsiteY303" fmla="*/ 719079 h 6184462"/>
              <a:gd name="connsiteX304" fmla="*/ 1428774 w 6191980"/>
              <a:gd name="connsiteY304" fmla="*/ 696549 h 6184462"/>
              <a:gd name="connsiteX305" fmla="*/ 1475711 w 6191980"/>
              <a:gd name="connsiteY305" fmla="*/ 670266 h 6184462"/>
              <a:gd name="connsiteX306" fmla="*/ 1517016 w 6191980"/>
              <a:gd name="connsiteY306" fmla="*/ 636471 h 6184462"/>
              <a:gd name="connsiteX307" fmla="*/ 1560199 w 6191980"/>
              <a:gd name="connsiteY307" fmla="*/ 598919 h 6184462"/>
              <a:gd name="connsiteX308" fmla="*/ 1597750 w 6191980"/>
              <a:gd name="connsiteY308" fmla="*/ 555737 h 6184462"/>
              <a:gd name="connsiteX309" fmla="*/ 1633422 w 6191980"/>
              <a:gd name="connsiteY309" fmla="*/ 510678 h 6184462"/>
              <a:gd name="connsiteX310" fmla="*/ 1669094 w 6191980"/>
              <a:gd name="connsiteY310" fmla="*/ 463741 h 6184462"/>
              <a:gd name="connsiteX311" fmla="*/ 1704766 w 6191980"/>
              <a:gd name="connsiteY311" fmla="*/ 416803 h 6184462"/>
              <a:gd name="connsiteX312" fmla="*/ 1740438 w 6191980"/>
              <a:gd name="connsiteY312" fmla="*/ 371743 h 6184462"/>
              <a:gd name="connsiteX313" fmla="*/ 1779867 w 6191980"/>
              <a:gd name="connsiteY313" fmla="*/ 328561 h 6184462"/>
              <a:gd name="connsiteX314" fmla="*/ 1819293 w 6191980"/>
              <a:gd name="connsiteY314" fmla="*/ 291012 h 6184462"/>
              <a:gd name="connsiteX315" fmla="*/ 1864354 w 6191980"/>
              <a:gd name="connsiteY315" fmla="*/ 259094 h 6184462"/>
              <a:gd name="connsiteX316" fmla="*/ 1911291 w 6191980"/>
              <a:gd name="connsiteY316" fmla="*/ 234686 h 6184462"/>
              <a:gd name="connsiteX317" fmla="*/ 1967617 w 6191980"/>
              <a:gd name="connsiteY317" fmla="*/ 217789 h 6184462"/>
              <a:gd name="connsiteX318" fmla="*/ 2025819 w 6191980"/>
              <a:gd name="connsiteY318" fmla="*/ 210279 h 6184462"/>
              <a:gd name="connsiteX319" fmla="*/ 2085897 w 6191980"/>
              <a:gd name="connsiteY319" fmla="*/ 208401 h 6184462"/>
              <a:gd name="connsiteX320" fmla="*/ 2149731 w 6191980"/>
              <a:gd name="connsiteY320" fmla="*/ 214035 h 6184462"/>
              <a:gd name="connsiteX321" fmla="*/ 2213567 w 6191980"/>
              <a:gd name="connsiteY321" fmla="*/ 221545 h 6184462"/>
              <a:gd name="connsiteX322" fmla="*/ 2277403 w 6191980"/>
              <a:gd name="connsiteY322" fmla="*/ 230932 h 6184462"/>
              <a:gd name="connsiteX323" fmla="*/ 2341237 w 6191980"/>
              <a:gd name="connsiteY323" fmla="*/ 238443 h 6184462"/>
              <a:gd name="connsiteX324" fmla="*/ 2405071 w 6191980"/>
              <a:gd name="connsiteY324" fmla="*/ 242197 h 6184462"/>
              <a:gd name="connsiteX325" fmla="*/ 2467030 w 6191980"/>
              <a:gd name="connsiteY325" fmla="*/ 242197 h 6184462"/>
              <a:gd name="connsiteX326" fmla="*/ 2525233 w 6191980"/>
              <a:gd name="connsiteY326" fmla="*/ 234686 h 6184462"/>
              <a:gd name="connsiteX327" fmla="*/ 2583436 w 6191980"/>
              <a:gd name="connsiteY327" fmla="*/ 219666 h 6184462"/>
              <a:gd name="connsiteX328" fmla="*/ 2639760 w 6191980"/>
              <a:gd name="connsiteY328" fmla="*/ 197137 h 6184462"/>
              <a:gd name="connsiteX329" fmla="*/ 2696083 w 6191980"/>
              <a:gd name="connsiteY329" fmla="*/ 167096 h 6184462"/>
              <a:gd name="connsiteX330" fmla="*/ 2752409 w 6191980"/>
              <a:gd name="connsiteY330" fmla="*/ 137057 h 6184462"/>
              <a:gd name="connsiteX331" fmla="*/ 2808733 w 6191980"/>
              <a:gd name="connsiteY331" fmla="*/ 103262 h 6184462"/>
              <a:gd name="connsiteX332" fmla="*/ 2863182 w 6191980"/>
              <a:gd name="connsiteY332" fmla="*/ 71344 h 6184462"/>
              <a:gd name="connsiteX333" fmla="*/ 2921385 w 6191980"/>
              <a:gd name="connsiteY333" fmla="*/ 43182 h 6184462"/>
              <a:gd name="connsiteX334" fmla="*/ 2977708 w 6191980"/>
              <a:gd name="connsiteY334" fmla="*/ 20652 h 6184462"/>
              <a:gd name="connsiteX335" fmla="*/ 3035911 w 6191980"/>
              <a:gd name="connsiteY335" fmla="*/ 5631 h 618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6191980" h="6184462">
                <a:moveTo>
                  <a:pt x="3095991" y="0"/>
                </a:moveTo>
                <a:lnTo>
                  <a:pt x="3156069" y="5631"/>
                </a:lnTo>
                <a:lnTo>
                  <a:pt x="3214272" y="20652"/>
                </a:lnTo>
                <a:lnTo>
                  <a:pt x="3270598" y="43182"/>
                </a:lnTo>
                <a:lnTo>
                  <a:pt x="3328798" y="71344"/>
                </a:lnTo>
                <a:lnTo>
                  <a:pt x="3383247" y="103262"/>
                </a:lnTo>
                <a:lnTo>
                  <a:pt x="3439573" y="137057"/>
                </a:lnTo>
                <a:lnTo>
                  <a:pt x="3495897" y="167096"/>
                </a:lnTo>
                <a:lnTo>
                  <a:pt x="3552221" y="197137"/>
                </a:lnTo>
                <a:lnTo>
                  <a:pt x="3606669" y="219666"/>
                </a:lnTo>
                <a:lnTo>
                  <a:pt x="3666749" y="234686"/>
                </a:lnTo>
                <a:lnTo>
                  <a:pt x="3724950" y="242197"/>
                </a:lnTo>
                <a:lnTo>
                  <a:pt x="3786907" y="242197"/>
                </a:lnTo>
                <a:lnTo>
                  <a:pt x="3850743" y="238443"/>
                </a:lnTo>
                <a:lnTo>
                  <a:pt x="3914577" y="230932"/>
                </a:lnTo>
                <a:lnTo>
                  <a:pt x="3978413" y="221545"/>
                </a:lnTo>
                <a:lnTo>
                  <a:pt x="4042247" y="214035"/>
                </a:lnTo>
                <a:lnTo>
                  <a:pt x="4106083" y="208401"/>
                </a:lnTo>
                <a:lnTo>
                  <a:pt x="4166161" y="210279"/>
                </a:lnTo>
                <a:lnTo>
                  <a:pt x="4224364" y="217789"/>
                </a:lnTo>
                <a:lnTo>
                  <a:pt x="4280690" y="234686"/>
                </a:lnTo>
                <a:lnTo>
                  <a:pt x="4327628" y="259094"/>
                </a:lnTo>
                <a:lnTo>
                  <a:pt x="4372686" y="291012"/>
                </a:lnTo>
                <a:lnTo>
                  <a:pt x="4412114" y="328561"/>
                </a:lnTo>
                <a:lnTo>
                  <a:pt x="4451542" y="371743"/>
                </a:lnTo>
                <a:lnTo>
                  <a:pt x="4487214" y="416803"/>
                </a:lnTo>
                <a:lnTo>
                  <a:pt x="4522886" y="463741"/>
                </a:lnTo>
                <a:lnTo>
                  <a:pt x="4558559" y="510678"/>
                </a:lnTo>
                <a:lnTo>
                  <a:pt x="4594231" y="555737"/>
                </a:lnTo>
                <a:lnTo>
                  <a:pt x="4631782" y="598919"/>
                </a:lnTo>
                <a:lnTo>
                  <a:pt x="4674964" y="636471"/>
                </a:lnTo>
                <a:lnTo>
                  <a:pt x="4716270" y="670266"/>
                </a:lnTo>
                <a:lnTo>
                  <a:pt x="4763206" y="696549"/>
                </a:lnTo>
                <a:lnTo>
                  <a:pt x="4813899" y="719079"/>
                </a:lnTo>
                <a:lnTo>
                  <a:pt x="4868345" y="737854"/>
                </a:lnTo>
                <a:lnTo>
                  <a:pt x="4924669" y="754751"/>
                </a:lnTo>
                <a:lnTo>
                  <a:pt x="4980995" y="769772"/>
                </a:lnTo>
                <a:lnTo>
                  <a:pt x="5039198" y="784792"/>
                </a:lnTo>
                <a:lnTo>
                  <a:pt x="5093644" y="801690"/>
                </a:lnTo>
                <a:lnTo>
                  <a:pt x="5148091" y="820464"/>
                </a:lnTo>
                <a:lnTo>
                  <a:pt x="5198784" y="842995"/>
                </a:lnTo>
                <a:lnTo>
                  <a:pt x="5243845" y="871157"/>
                </a:lnTo>
                <a:lnTo>
                  <a:pt x="5285151" y="904952"/>
                </a:lnTo>
                <a:lnTo>
                  <a:pt x="5318944" y="946257"/>
                </a:lnTo>
                <a:lnTo>
                  <a:pt x="5347108" y="991317"/>
                </a:lnTo>
                <a:lnTo>
                  <a:pt x="5369636" y="1042007"/>
                </a:lnTo>
                <a:lnTo>
                  <a:pt x="5388410" y="1096456"/>
                </a:lnTo>
                <a:lnTo>
                  <a:pt x="5405308" y="1150903"/>
                </a:lnTo>
                <a:lnTo>
                  <a:pt x="5420328" y="1209105"/>
                </a:lnTo>
                <a:lnTo>
                  <a:pt x="5435349" y="1265429"/>
                </a:lnTo>
                <a:lnTo>
                  <a:pt x="5452246" y="1321755"/>
                </a:lnTo>
                <a:lnTo>
                  <a:pt x="5471021" y="1376203"/>
                </a:lnTo>
                <a:lnTo>
                  <a:pt x="5493550" y="1426896"/>
                </a:lnTo>
                <a:lnTo>
                  <a:pt x="5519836" y="1473832"/>
                </a:lnTo>
                <a:lnTo>
                  <a:pt x="5553632" y="1515138"/>
                </a:lnTo>
                <a:lnTo>
                  <a:pt x="5591181" y="1558320"/>
                </a:lnTo>
                <a:lnTo>
                  <a:pt x="5634364" y="1595869"/>
                </a:lnTo>
                <a:lnTo>
                  <a:pt x="5679425" y="1631541"/>
                </a:lnTo>
                <a:lnTo>
                  <a:pt x="5728238" y="1667213"/>
                </a:lnTo>
                <a:lnTo>
                  <a:pt x="5775175" y="1702885"/>
                </a:lnTo>
                <a:lnTo>
                  <a:pt x="5820236" y="1738560"/>
                </a:lnTo>
                <a:lnTo>
                  <a:pt x="5863416" y="1777986"/>
                </a:lnTo>
                <a:lnTo>
                  <a:pt x="5900968" y="1817414"/>
                </a:lnTo>
                <a:lnTo>
                  <a:pt x="5932886" y="1862474"/>
                </a:lnTo>
                <a:lnTo>
                  <a:pt x="5957294" y="1909410"/>
                </a:lnTo>
                <a:lnTo>
                  <a:pt x="5974191" y="1965736"/>
                </a:lnTo>
                <a:lnTo>
                  <a:pt x="5981700" y="2023938"/>
                </a:lnTo>
                <a:lnTo>
                  <a:pt x="5983578" y="2084018"/>
                </a:lnTo>
                <a:lnTo>
                  <a:pt x="5977945" y="2147852"/>
                </a:lnTo>
                <a:lnTo>
                  <a:pt x="5970435" y="2211686"/>
                </a:lnTo>
                <a:lnTo>
                  <a:pt x="5961048" y="2275522"/>
                </a:lnTo>
                <a:lnTo>
                  <a:pt x="5953538" y="2339356"/>
                </a:lnTo>
                <a:lnTo>
                  <a:pt x="5949784" y="2403192"/>
                </a:lnTo>
                <a:lnTo>
                  <a:pt x="5949784" y="2465149"/>
                </a:lnTo>
                <a:lnTo>
                  <a:pt x="5957294" y="2523350"/>
                </a:lnTo>
                <a:lnTo>
                  <a:pt x="5972312" y="2581552"/>
                </a:lnTo>
                <a:lnTo>
                  <a:pt x="5994843" y="2636001"/>
                </a:lnTo>
                <a:lnTo>
                  <a:pt x="6024884" y="2692325"/>
                </a:lnTo>
                <a:lnTo>
                  <a:pt x="6054922" y="2748651"/>
                </a:lnTo>
                <a:lnTo>
                  <a:pt x="6088718" y="2804974"/>
                </a:lnTo>
                <a:lnTo>
                  <a:pt x="6120634" y="2859423"/>
                </a:lnTo>
                <a:lnTo>
                  <a:pt x="6148798" y="2917624"/>
                </a:lnTo>
                <a:lnTo>
                  <a:pt x="6171326" y="2973950"/>
                </a:lnTo>
                <a:lnTo>
                  <a:pt x="6186347" y="3032152"/>
                </a:lnTo>
                <a:lnTo>
                  <a:pt x="6191980" y="3092230"/>
                </a:lnTo>
                <a:lnTo>
                  <a:pt x="6186347" y="3152310"/>
                </a:lnTo>
                <a:lnTo>
                  <a:pt x="6171326" y="3210513"/>
                </a:lnTo>
                <a:lnTo>
                  <a:pt x="6148798" y="3266839"/>
                </a:lnTo>
                <a:lnTo>
                  <a:pt x="6120634" y="3325039"/>
                </a:lnTo>
                <a:lnTo>
                  <a:pt x="6088718" y="3379488"/>
                </a:lnTo>
                <a:lnTo>
                  <a:pt x="6054922" y="3435814"/>
                </a:lnTo>
                <a:lnTo>
                  <a:pt x="6024884" y="3492137"/>
                </a:lnTo>
                <a:lnTo>
                  <a:pt x="5994843" y="3548461"/>
                </a:lnTo>
                <a:lnTo>
                  <a:pt x="5972312" y="3602910"/>
                </a:lnTo>
                <a:lnTo>
                  <a:pt x="5957294" y="3661113"/>
                </a:lnTo>
                <a:lnTo>
                  <a:pt x="5949784" y="3719313"/>
                </a:lnTo>
                <a:lnTo>
                  <a:pt x="5949784" y="3781272"/>
                </a:lnTo>
                <a:lnTo>
                  <a:pt x="5953538" y="3845106"/>
                </a:lnTo>
                <a:lnTo>
                  <a:pt x="5961048" y="3908940"/>
                </a:lnTo>
                <a:lnTo>
                  <a:pt x="5970435" y="3972776"/>
                </a:lnTo>
                <a:lnTo>
                  <a:pt x="5977945" y="4036610"/>
                </a:lnTo>
                <a:lnTo>
                  <a:pt x="5983578" y="4100444"/>
                </a:lnTo>
                <a:lnTo>
                  <a:pt x="5981700" y="4160526"/>
                </a:lnTo>
                <a:lnTo>
                  <a:pt x="5974191" y="4218729"/>
                </a:lnTo>
                <a:lnTo>
                  <a:pt x="5957294" y="4275053"/>
                </a:lnTo>
                <a:lnTo>
                  <a:pt x="5932886" y="4321989"/>
                </a:lnTo>
                <a:lnTo>
                  <a:pt x="5900968" y="4367050"/>
                </a:lnTo>
                <a:lnTo>
                  <a:pt x="5863416" y="4406477"/>
                </a:lnTo>
                <a:lnTo>
                  <a:pt x="5820236" y="4445903"/>
                </a:lnTo>
                <a:lnTo>
                  <a:pt x="5775175" y="4481577"/>
                </a:lnTo>
                <a:lnTo>
                  <a:pt x="5728238" y="4517249"/>
                </a:lnTo>
                <a:lnTo>
                  <a:pt x="5679425" y="4552921"/>
                </a:lnTo>
                <a:lnTo>
                  <a:pt x="5634364" y="4588593"/>
                </a:lnTo>
                <a:lnTo>
                  <a:pt x="5591181" y="4626142"/>
                </a:lnTo>
                <a:lnTo>
                  <a:pt x="5553632" y="4669325"/>
                </a:lnTo>
                <a:lnTo>
                  <a:pt x="5519836" y="4710630"/>
                </a:lnTo>
                <a:lnTo>
                  <a:pt x="5493550" y="4757566"/>
                </a:lnTo>
                <a:lnTo>
                  <a:pt x="5471021" y="4808259"/>
                </a:lnTo>
                <a:lnTo>
                  <a:pt x="5452246" y="4862708"/>
                </a:lnTo>
                <a:lnTo>
                  <a:pt x="5435349" y="4919033"/>
                </a:lnTo>
                <a:lnTo>
                  <a:pt x="5420328" y="4975357"/>
                </a:lnTo>
                <a:lnTo>
                  <a:pt x="5405308" y="5033560"/>
                </a:lnTo>
                <a:lnTo>
                  <a:pt x="5388410" y="5088007"/>
                </a:lnTo>
                <a:lnTo>
                  <a:pt x="5369636" y="5142453"/>
                </a:lnTo>
                <a:lnTo>
                  <a:pt x="5347108" y="5193146"/>
                </a:lnTo>
                <a:lnTo>
                  <a:pt x="5318944" y="5238207"/>
                </a:lnTo>
                <a:lnTo>
                  <a:pt x="5285151" y="5279510"/>
                </a:lnTo>
                <a:lnTo>
                  <a:pt x="5243845" y="5313305"/>
                </a:lnTo>
                <a:lnTo>
                  <a:pt x="5198784" y="5341467"/>
                </a:lnTo>
                <a:lnTo>
                  <a:pt x="5148091" y="5363998"/>
                </a:lnTo>
                <a:lnTo>
                  <a:pt x="5093644" y="5382773"/>
                </a:lnTo>
                <a:lnTo>
                  <a:pt x="5039198" y="5399670"/>
                </a:lnTo>
                <a:lnTo>
                  <a:pt x="4980995" y="5414691"/>
                </a:lnTo>
                <a:lnTo>
                  <a:pt x="4924669" y="5429711"/>
                </a:lnTo>
                <a:lnTo>
                  <a:pt x="4868345" y="5446609"/>
                </a:lnTo>
                <a:lnTo>
                  <a:pt x="4813899" y="5465383"/>
                </a:lnTo>
                <a:lnTo>
                  <a:pt x="4763206" y="5487914"/>
                </a:lnTo>
                <a:lnTo>
                  <a:pt x="4716270" y="5514197"/>
                </a:lnTo>
                <a:lnTo>
                  <a:pt x="4674964" y="5547992"/>
                </a:lnTo>
                <a:lnTo>
                  <a:pt x="4631782" y="5585543"/>
                </a:lnTo>
                <a:lnTo>
                  <a:pt x="4594231" y="5628725"/>
                </a:lnTo>
                <a:lnTo>
                  <a:pt x="4558559" y="5673785"/>
                </a:lnTo>
                <a:lnTo>
                  <a:pt x="4522886" y="5720721"/>
                </a:lnTo>
                <a:lnTo>
                  <a:pt x="4487214" y="5767659"/>
                </a:lnTo>
                <a:lnTo>
                  <a:pt x="4451542" y="5812719"/>
                </a:lnTo>
                <a:lnTo>
                  <a:pt x="4412114" y="5855901"/>
                </a:lnTo>
                <a:lnTo>
                  <a:pt x="4372686" y="5893450"/>
                </a:lnTo>
                <a:lnTo>
                  <a:pt x="4327628" y="5925368"/>
                </a:lnTo>
                <a:lnTo>
                  <a:pt x="4280690" y="5949776"/>
                </a:lnTo>
                <a:lnTo>
                  <a:pt x="4224364" y="5966674"/>
                </a:lnTo>
                <a:lnTo>
                  <a:pt x="4166161" y="5974184"/>
                </a:lnTo>
                <a:lnTo>
                  <a:pt x="4106083" y="5976061"/>
                </a:lnTo>
                <a:lnTo>
                  <a:pt x="4042247" y="5970428"/>
                </a:lnTo>
                <a:lnTo>
                  <a:pt x="3978413" y="5962919"/>
                </a:lnTo>
                <a:lnTo>
                  <a:pt x="3914577" y="5953530"/>
                </a:lnTo>
                <a:lnTo>
                  <a:pt x="3850743" y="5946022"/>
                </a:lnTo>
                <a:lnTo>
                  <a:pt x="3786907" y="5942266"/>
                </a:lnTo>
                <a:lnTo>
                  <a:pt x="3724950" y="5942266"/>
                </a:lnTo>
                <a:lnTo>
                  <a:pt x="3666749" y="5949776"/>
                </a:lnTo>
                <a:lnTo>
                  <a:pt x="3606669" y="5964797"/>
                </a:lnTo>
                <a:lnTo>
                  <a:pt x="3552221" y="5987325"/>
                </a:lnTo>
                <a:lnTo>
                  <a:pt x="3495897" y="6017366"/>
                </a:lnTo>
                <a:lnTo>
                  <a:pt x="3439573" y="6047407"/>
                </a:lnTo>
                <a:lnTo>
                  <a:pt x="3383247" y="6081200"/>
                </a:lnTo>
                <a:lnTo>
                  <a:pt x="3328798" y="6113118"/>
                </a:lnTo>
                <a:lnTo>
                  <a:pt x="3270598" y="6141280"/>
                </a:lnTo>
                <a:lnTo>
                  <a:pt x="3214272" y="6163811"/>
                </a:lnTo>
                <a:lnTo>
                  <a:pt x="3156069" y="6178831"/>
                </a:lnTo>
                <a:lnTo>
                  <a:pt x="3095991" y="6184462"/>
                </a:lnTo>
                <a:lnTo>
                  <a:pt x="3035911" y="6178831"/>
                </a:lnTo>
                <a:lnTo>
                  <a:pt x="2977708" y="6163811"/>
                </a:lnTo>
                <a:lnTo>
                  <a:pt x="2921385" y="6141280"/>
                </a:lnTo>
                <a:lnTo>
                  <a:pt x="2863182" y="6113118"/>
                </a:lnTo>
                <a:lnTo>
                  <a:pt x="2808733" y="6081200"/>
                </a:lnTo>
                <a:lnTo>
                  <a:pt x="2752409" y="6047407"/>
                </a:lnTo>
                <a:lnTo>
                  <a:pt x="2696083" y="6017366"/>
                </a:lnTo>
                <a:lnTo>
                  <a:pt x="2639760" y="5987325"/>
                </a:lnTo>
                <a:lnTo>
                  <a:pt x="2583436" y="5964797"/>
                </a:lnTo>
                <a:lnTo>
                  <a:pt x="2525233" y="5949776"/>
                </a:lnTo>
                <a:lnTo>
                  <a:pt x="2467030" y="5942266"/>
                </a:lnTo>
                <a:lnTo>
                  <a:pt x="2405071" y="5942266"/>
                </a:lnTo>
                <a:lnTo>
                  <a:pt x="2341237" y="5946022"/>
                </a:lnTo>
                <a:lnTo>
                  <a:pt x="2277403" y="5953530"/>
                </a:lnTo>
                <a:lnTo>
                  <a:pt x="2213567" y="5962919"/>
                </a:lnTo>
                <a:lnTo>
                  <a:pt x="2149731" y="5970428"/>
                </a:lnTo>
                <a:lnTo>
                  <a:pt x="2085897" y="5976061"/>
                </a:lnTo>
                <a:lnTo>
                  <a:pt x="2025819" y="5974184"/>
                </a:lnTo>
                <a:lnTo>
                  <a:pt x="1967617" y="5966674"/>
                </a:lnTo>
                <a:lnTo>
                  <a:pt x="1911291" y="5949776"/>
                </a:lnTo>
                <a:lnTo>
                  <a:pt x="1864354" y="5925368"/>
                </a:lnTo>
                <a:lnTo>
                  <a:pt x="1819293" y="5893450"/>
                </a:lnTo>
                <a:lnTo>
                  <a:pt x="1779867" y="5855901"/>
                </a:lnTo>
                <a:lnTo>
                  <a:pt x="1740438" y="5812719"/>
                </a:lnTo>
                <a:lnTo>
                  <a:pt x="1704766" y="5767659"/>
                </a:lnTo>
                <a:lnTo>
                  <a:pt x="1669094" y="5720721"/>
                </a:lnTo>
                <a:lnTo>
                  <a:pt x="1633422" y="5673785"/>
                </a:lnTo>
                <a:lnTo>
                  <a:pt x="1597750" y="5628725"/>
                </a:lnTo>
                <a:lnTo>
                  <a:pt x="1560199" y="5585543"/>
                </a:lnTo>
                <a:lnTo>
                  <a:pt x="1517016" y="5547992"/>
                </a:lnTo>
                <a:lnTo>
                  <a:pt x="1475711" y="5514197"/>
                </a:lnTo>
                <a:lnTo>
                  <a:pt x="1428774" y="5487914"/>
                </a:lnTo>
                <a:lnTo>
                  <a:pt x="1378082" y="5465383"/>
                </a:lnTo>
                <a:lnTo>
                  <a:pt x="1323635" y="5446609"/>
                </a:lnTo>
                <a:lnTo>
                  <a:pt x="1267309" y="5429711"/>
                </a:lnTo>
                <a:lnTo>
                  <a:pt x="1210986" y="5414691"/>
                </a:lnTo>
                <a:lnTo>
                  <a:pt x="1152783" y="5399670"/>
                </a:lnTo>
                <a:lnTo>
                  <a:pt x="1098336" y="5382773"/>
                </a:lnTo>
                <a:lnTo>
                  <a:pt x="1043887" y="5363998"/>
                </a:lnTo>
                <a:lnTo>
                  <a:pt x="993197" y="5341467"/>
                </a:lnTo>
                <a:lnTo>
                  <a:pt x="948135" y="5313305"/>
                </a:lnTo>
                <a:lnTo>
                  <a:pt x="906830" y="5279510"/>
                </a:lnTo>
                <a:lnTo>
                  <a:pt x="873037" y="5238207"/>
                </a:lnTo>
                <a:lnTo>
                  <a:pt x="844875" y="5193146"/>
                </a:lnTo>
                <a:lnTo>
                  <a:pt x="822344" y="5142453"/>
                </a:lnTo>
                <a:lnTo>
                  <a:pt x="803570" y="5088007"/>
                </a:lnTo>
                <a:lnTo>
                  <a:pt x="786672" y="5033560"/>
                </a:lnTo>
                <a:lnTo>
                  <a:pt x="771652" y="4975357"/>
                </a:lnTo>
                <a:lnTo>
                  <a:pt x="756631" y="4919033"/>
                </a:lnTo>
                <a:lnTo>
                  <a:pt x="739734" y="4862708"/>
                </a:lnTo>
                <a:lnTo>
                  <a:pt x="720959" y="4808259"/>
                </a:lnTo>
                <a:lnTo>
                  <a:pt x="698428" y="4757566"/>
                </a:lnTo>
                <a:lnTo>
                  <a:pt x="672143" y="4710630"/>
                </a:lnTo>
                <a:lnTo>
                  <a:pt x="638351" y="4669325"/>
                </a:lnTo>
                <a:lnTo>
                  <a:pt x="600799" y="4626142"/>
                </a:lnTo>
                <a:lnTo>
                  <a:pt x="557617" y="4588593"/>
                </a:lnTo>
                <a:lnTo>
                  <a:pt x="510678" y="4552921"/>
                </a:lnTo>
                <a:lnTo>
                  <a:pt x="463742" y="4517249"/>
                </a:lnTo>
                <a:lnTo>
                  <a:pt x="416805" y="4481577"/>
                </a:lnTo>
                <a:lnTo>
                  <a:pt x="371744" y="4445903"/>
                </a:lnTo>
                <a:lnTo>
                  <a:pt x="328562" y="4406477"/>
                </a:lnTo>
                <a:lnTo>
                  <a:pt x="291012" y="4367050"/>
                </a:lnTo>
                <a:lnTo>
                  <a:pt x="259096" y="4321989"/>
                </a:lnTo>
                <a:lnTo>
                  <a:pt x="234689" y="4275053"/>
                </a:lnTo>
                <a:lnTo>
                  <a:pt x="217791" y="4218729"/>
                </a:lnTo>
                <a:lnTo>
                  <a:pt x="210281" y="4160526"/>
                </a:lnTo>
                <a:lnTo>
                  <a:pt x="208402" y="4100444"/>
                </a:lnTo>
                <a:lnTo>
                  <a:pt x="214035" y="4036610"/>
                </a:lnTo>
                <a:lnTo>
                  <a:pt x="221545" y="3972776"/>
                </a:lnTo>
                <a:lnTo>
                  <a:pt x="230932" y="3908940"/>
                </a:lnTo>
                <a:lnTo>
                  <a:pt x="238443" y="3845106"/>
                </a:lnTo>
                <a:lnTo>
                  <a:pt x="242199" y="3781272"/>
                </a:lnTo>
                <a:lnTo>
                  <a:pt x="242199" y="3719313"/>
                </a:lnTo>
                <a:lnTo>
                  <a:pt x="234689" y="3661113"/>
                </a:lnTo>
                <a:lnTo>
                  <a:pt x="219668" y="3602910"/>
                </a:lnTo>
                <a:lnTo>
                  <a:pt x="197138" y="3548461"/>
                </a:lnTo>
                <a:lnTo>
                  <a:pt x="168976" y="3492137"/>
                </a:lnTo>
                <a:lnTo>
                  <a:pt x="137057" y="3435814"/>
                </a:lnTo>
                <a:lnTo>
                  <a:pt x="103264" y="3379488"/>
                </a:lnTo>
                <a:lnTo>
                  <a:pt x="71346" y="3325039"/>
                </a:lnTo>
                <a:lnTo>
                  <a:pt x="43182" y="3266839"/>
                </a:lnTo>
                <a:lnTo>
                  <a:pt x="20654" y="3210513"/>
                </a:lnTo>
                <a:lnTo>
                  <a:pt x="5634" y="3152310"/>
                </a:lnTo>
                <a:lnTo>
                  <a:pt x="0" y="3092230"/>
                </a:lnTo>
                <a:lnTo>
                  <a:pt x="5634" y="3032152"/>
                </a:lnTo>
                <a:lnTo>
                  <a:pt x="20654" y="2973950"/>
                </a:lnTo>
                <a:lnTo>
                  <a:pt x="43182" y="2917624"/>
                </a:lnTo>
                <a:lnTo>
                  <a:pt x="71346" y="2859423"/>
                </a:lnTo>
                <a:lnTo>
                  <a:pt x="103264" y="2804974"/>
                </a:lnTo>
                <a:lnTo>
                  <a:pt x="137057" y="2748651"/>
                </a:lnTo>
                <a:lnTo>
                  <a:pt x="168976" y="2692325"/>
                </a:lnTo>
                <a:lnTo>
                  <a:pt x="197138" y="2636001"/>
                </a:lnTo>
                <a:lnTo>
                  <a:pt x="219668" y="2581552"/>
                </a:lnTo>
                <a:lnTo>
                  <a:pt x="234689" y="2523350"/>
                </a:lnTo>
                <a:lnTo>
                  <a:pt x="242199" y="2465149"/>
                </a:lnTo>
                <a:lnTo>
                  <a:pt x="242199" y="2403192"/>
                </a:lnTo>
                <a:lnTo>
                  <a:pt x="238443" y="2339356"/>
                </a:lnTo>
                <a:lnTo>
                  <a:pt x="230932" y="2275522"/>
                </a:lnTo>
                <a:lnTo>
                  <a:pt x="221545" y="2211686"/>
                </a:lnTo>
                <a:lnTo>
                  <a:pt x="214035" y="2147852"/>
                </a:lnTo>
                <a:lnTo>
                  <a:pt x="208402" y="2084018"/>
                </a:lnTo>
                <a:lnTo>
                  <a:pt x="210281" y="2023938"/>
                </a:lnTo>
                <a:lnTo>
                  <a:pt x="217791" y="1965736"/>
                </a:lnTo>
                <a:lnTo>
                  <a:pt x="234689" y="1909410"/>
                </a:lnTo>
                <a:lnTo>
                  <a:pt x="259096" y="1862474"/>
                </a:lnTo>
                <a:lnTo>
                  <a:pt x="291012" y="1817414"/>
                </a:lnTo>
                <a:lnTo>
                  <a:pt x="328562" y="1777986"/>
                </a:lnTo>
                <a:lnTo>
                  <a:pt x="371744" y="1738560"/>
                </a:lnTo>
                <a:lnTo>
                  <a:pt x="416805" y="1702885"/>
                </a:lnTo>
                <a:lnTo>
                  <a:pt x="463742" y="1667213"/>
                </a:lnTo>
                <a:lnTo>
                  <a:pt x="510678" y="1631541"/>
                </a:lnTo>
                <a:lnTo>
                  <a:pt x="557617" y="1595869"/>
                </a:lnTo>
                <a:lnTo>
                  <a:pt x="600799" y="1558320"/>
                </a:lnTo>
                <a:lnTo>
                  <a:pt x="638351" y="1515138"/>
                </a:lnTo>
                <a:lnTo>
                  <a:pt x="672143" y="1473832"/>
                </a:lnTo>
                <a:lnTo>
                  <a:pt x="698428" y="1426896"/>
                </a:lnTo>
                <a:lnTo>
                  <a:pt x="720959" y="1376203"/>
                </a:lnTo>
                <a:lnTo>
                  <a:pt x="739734" y="1321755"/>
                </a:lnTo>
                <a:lnTo>
                  <a:pt x="756631" y="1265429"/>
                </a:lnTo>
                <a:lnTo>
                  <a:pt x="771652" y="1209105"/>
                </a:lnTo>
                <a:lnTo>
                  <a:pt x="786672" y="1150903"/>
                </a:lnTo>
                <a:lnTo>
                  <a:pt x="803570" y="1096456"/>
                </a:lnTo>
                <a:lnTo>
                  <a:pt x="822344" y="1042007"/>
                </a:lnTo>
                <a:lnTo>
                  <a:pt x="844875" y="991317"/>
                </a:lnTo>
                <a:lnTo>
                  <a:pt x="873037" y="946257"/>
                </a:lnTo>
                <a:lnTo>
                  <a:pt x="906830" y="904952"/>
                </a:lnTo>
                <a:lnTo>
                  <a:pt x="948135" y="871157"/>
                </a:lnTo>
                <a:lnTo>
                  <a:pt x="993197" y="842995"/>
                </a:lnTo>
                <a:lnTo>
                  <a:pt x="1043887" y="820464"/>
                </a:lnTo>
                <a:lnTo>
                  <a:pt x="1098336" y="801690"/>
                </a:lnTo>
                <a:lnTo>
                  <a:pt x="1152783" y="784792"/>
                </a:lnTo>
                <a:lnTo>
                  <a:pt x="1210986" y="769772"/>
                </a:lnTo>
                <a:lnTo>
                  <a:pt x="1267309" y="754751"/>
                </a:lnTo>
                <a:lnTo>
                  <a:pt x="1323635" y="737854"/>
                </a:lnTo>
                <a:lnTo>
                  <a:pt x="1378082" y="719079"/>
                </a:lnTo>
                <a:lnTo>
                  <a:pt x="1428774" y="696549"/>
                </a:lnTo>
                <a:lnTo>
                  <a:pt x="1475711" y="670266"/>
                </a:lnTo>
                <a:lnTo>
                  <a:pt x="1517016" y="636471"/>
                </a:lnTo>
                <a:lnTo>
                  <a:pt x="1560199" y="598919"/>
                </a:lnTo>
                <a:lnTo>
                  <a:pt x="1597750" y="555737"/>
                </a:lnTo>
                <a:lnTo>
                  <a:pt x="1633422" y="510678"/>
                </a:lnTo>
                <a:lnTo>
                  <a:pt x="1669094" y="463741"/>
                </a:lnTo>
                <a:lnTo>
                  <a:pt x="1704766" y="416803"/>
                </a:lnTo>
                <a:lnTo>
                  <a:pt x="1740438" y="371743"/>
                </a:lnTo>
                <a:lnTo>
                  <a:pt x="1779867" y="328561"/>
                </a:lnTo>
                <a:lnTo>
                  <a:pt x="1819293" y="291012"/>
                </a:lnTo>
                <a:lnTo>
                  <a:pt x="1864354" y="259094"/>
                </a:lnTo>
                <a:lnTo>
                  <a:pt x="1911291" y="234686"/>
                </a:lnTo>
                <a:lnTo>
                  <a:pt x="1967617" y="217789"/>
                </a:lnTo>
                <a:lnTo>
                  <a:pt x="2025819" y="210279"/>
                </a:lnTo>
                <a:lnTo>
                  <a:pt x="2085897" y="208401"/>
                </a:lnTo>
                <a:lnTo>
                  <a:pt x="2149731" y="214035"/>
                </a:lnTo>
                <a:lnTo>
                  <a:pt x="2213567" y="221545"/>
                </a:lnTo>
                <a:lnTo>
                  <a:pt x="2277403" y="230932"/>
                </a:lnTo>
                <a:lnTo>
                  <a:pt x="2341237" y="238443"/>
                </a:lnTo>
                <a:lnTo>
                  <a:pt x="2405071" y="242197"/>
                </a:lnTo>
                <a:lnTo>
                  <a:pt x="2467030" y="242197"/>
                </a:lnTo>
                <a:lnTo>
                  <a:pt x="2525233" y="234686"/>
                </a:lnTo>
                <a:lnTo>
                  <a:pt x="2583436" y="219666"/>
                </a:lnTo>
                <a:lnTo>
                  <a:pt x="2639760" y="197137"/>
                </a:lnTo>
                <a:lnTo>
                  <a:pt x="2696083" y="167096"/>
                </a:lnTo>
                <a:lnTo>
                  <a:pt x="2752409" y="137057"/>
                </a:lnTo>
                <a:lnTo>
                  <a:pt x="2808733" y="103262"/>
                </a:lnTo>
                <a:lnTo>
                  <a:pt x="2863182" y="71344"/>
                </a:lnTo>
                <a:lnTo>
                  <a:pt x="2921385" y="43182"/>
                </a:lnTo>
                <a:lnTo>
                  <a:pt x="2977708" y="20652"/>
                </a:lnTo>
                <a:lnTo>
                  <a:pt x="3035911" y="56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4E167232-A476-4FF0-AEEA-2219E3A782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0777" y="877074"/>
            <a:ext cx="1100358" cy="1086939"/>
          </a:xfrm>
          <a:prstGeom prst="rect">
            <a:avLst/>
          </a:prstGeom>
        </p:spPr>
      </p:pic>
      <p:sp>
        <p:nvSpPr>
          <p:cNvPr id="1039" name="Content Placeholder 1029">
            <a:extLst>
              <a:ext uri="{FF2B5EF4-FFF2-40B4-BE49-F238E27FC236}">
                <a16:creationId xmlns:a16="http://schemas.microsoft.com/office/drawing/2014/main" id="{D840E61E-E238-4A47-94A5-10F4049E34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3800" y="2871982"/>
            <a:ext cx="4170052" cy="3181684"/>
          </a:xfrm>
        </p:spPr>
        <p:txBody>
          <a:bodyPr anchor="t">
            <a:normAutofit/>
          </a:bodyPr>
          <a:lstStyle/>
          <a:p>
            <a:r>
              <a:rPr lang="en-US" sz="1800" dirty="0" err="1">
                <a:solidFill>
                  <a:schemeClr val="tx1"/>
                </a:solidFill>
              </a:rPr>
              <a:t>Solução</a:t>
            </a:r>
            <a:r>
              <a:rPr lang="en-US" sz="1800" dirty="0">
                <a:solidFill>
                  <a:schemeClr val="tx1"/>
                </a:solidFill>
              </a:rPr>
              <a:t> B2B, com </a:t>
            </a:r>
            <a:r>
              <a:rPr lang="en-US" sz="1800" dirty="0" err="1">
                <a:solidFill>
                  <a:schemeClr val="tx1"/>
                </a:solidFill>
              </a:rPr>
              <a:t>os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 err="1">
                <a:solidFill>
                  <a:schemeClr val="tx1"/>
                </a:solidFill>
              </a:rPr>
              <a:t>seguintes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 err="1">
                <a:solidFill>
                  <a:schemeClr val="tx1"/>
                </a:solidFill>
              </a:rPr>
              <a:t>envolvidos</a:t>
            </a:r>
            <a:r>
              <a:rPr lang="en-US" sz="1800" dirty="0">
                <a:solidFill>
                  <a:schemeClr val="tx1"/>
                </a:solidFill>
              </a:rPr>
              <a:t>:</a:t>
            </a:r>
          </a:p>
          <a:p>
            <a:endParaRPr lang="en-US" sz="1800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dirty="0" err="1">
                <a:solidFill>
                  <a:schemeClr val="tx1"/>
                </a:solidFill>
              </a:rPr>
              <a:t>Aplicativo</a:t>
            </a:r>
            <a:r>
              <a:rPr lang="en-US" sz="1800" dirty="0">
                <a:solidFill>
                  <a:schemeClr val="tx1"/>
                </a:solidFill>
              </a:rPr>
              <a:t> Be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Sistema de </a:t>
            </a:r>
            <a:r>
              <a:rPr lang="en-US" sz="1800" dirty="0" err="1">
                <a:solidFill>
                  <a:schemeClr val="tx1"/>
                </a:solidFill>
              </a:rPr>
              <a:t>Recomendação</a:t>
            </a:r>
            <a:endParaRPr lang="en-US" sz="1800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Bares/</a:t>
            </a:r>
            <a:r>
              <a:rPr lang="en-US" sz="1800" dirty="0" err="1">
                <a:solidFill>
                  <a:schemeClr val="tx1"/>
                </a:solidFill>
              </a:rPr>
              <a:t>Restaurantes</a:t>
            </a:r>
            <a:r>
              <a:rPr lang="en-US" sz="1800" dirty="0">
                <a:solidFill>
                  <a:schemeClr val="tx1"/>
                </a:solidFill>
              </a:rPr>
              <a:t>/</a:t>
            </a:r>
            <a:r>
              <a:rPr lang="en-US" sz="1800" dirty="0" err="1">
                <a:solidFill>
                  <a:schemeClr val="tx1"/>
                </a:solidFill>
              </a:rPr>
              <a:t>Supermercados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040" name="Freeform: Shape 80">
            <a:extLst>
              <a:ext uri="{FF2B5EF4-FFF2-40B4-BE49-F238E27FC236}">
                <a16:creationId xmlns:a16="http://schemas.microsoft.com/office/drawing/2014/main" id="{FFBD8C93-38E3-4D74-A212-DA02C0C7E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53688" y="2584797"/>
            <a:ext cx="3261712" cy="3257750"/>
          </a:xfrm>
          <a:custGeom>
            <a:avLst/>
            <a:gdLst>
              <a:gd name="connsiteX0" fmla="*/ 3095991 w 6191980"/>
              <a:gd name="connsiteY0" fmla="*/ 0 h 6184462"/>
              <a:gd name="connsiteX1" fmla="*/ 3156069 w 6191980"/>
              <a:gd name="connsiteY1" fmla="*/ 5631 h 6184462"/>
              <a:gd name="connsiteX2" fmla="*/ 3214272 w 6191980"/>
              <a:gd name="connsiteY2" fmla="*/ 20652 h 6184462"/>
              <a:gd name="connsiteX3" fmla="*/ 3270598 w 6191980"/>
              <a:gd name="connsiteY3" fmla="*/ 43182 h 6184462"/>
              <a:gd name="connsiteX4" fmla="*/ 3328798 w 6191980"/>
              <a:gd name="connsiteY4" fmla="*/ 71344 h 6184462"/>
              <a:gd name="connsiteX5" fmla="*/ 3383247 w 6191980"/>
              <a:gd name="connsiteY5" fmla="*/ 103262 h 6184462"/>
              <a:gd name="connsiteX6" fmla="*/ 3439573 w 6191980"/>
              <a:gd name="connsiteY6" fmla="*/ 137057 h 6184462"/>
              <a:gd name="connsiteX7" fmla="*/ 3495897 w 6191980"/>
              <a:gd name="connsiteY7" fmla="*/ 167096 h 6184462"/>
              <a:gd name="connsiteX8" fmla="*/ 3552221 w 6191980"/>
              <a:gd name="connsiteY8" fmla="*/ 197137 h 6184462"/>
              <a:gd name="connsiteX9" fmla="*/ 3606669 w 6191980"/>
              <a:gd name="connsiteY9" fmla="*/ 219666 h 6184462"/>
              <a:gd name="connsiteX10" fmla="*/ 3666749 w 6191980"/>
              <a:gd name="connsiteY10" fmla="*/ 234686 h 6184462"/>
              <a:gd name="connsiteX11" fmla="*/ 3724950 w 6191980"/>
              <a:gd name="connsiteY11" fmla="*/ 242197 h 6184462"/>
              <a:gd name="connsiteX12" fmla="*/ 3786907 w 6191980"/>
              <a:gd name="connsiteY12" fmla="*/ 242197 h 6184462"/>
              <a:gd name="connsiteX13" fmla="*/ 3850743 w 6191980"/>
              <a:gd name="connsiteY13" fmla="*/ 238443 h 6184462"/>
              <a:gd name="connsiteX14" fmla="*/ 3914577 w 6191980"/>
              <a:gd name="connsiteY14" fmla="*/ 230932 h 6184462"/>
              <a:gd name="connsiteX15" fmla="*/ 3978413 w 6191980"/>
              <a:gd name="connsiteY15" fmla="*/ 221545 h 6184462"/>
              <a:gd name="connsiteX16" fmla="*/ 4042247 w 6191980"/>
              <a:gd name="connsiteY16" fmla="*/ 214035 h 6184462"/>
              <a:gd name="connsiteX17" fmla="*/ 4106083 w 6191980"/>
              <a:gd name="connsiteY17" fmla="*/ 208401 h 6184462"/>
              <a:gd name="connsiteX18" fmla="*/ 4166161 w 6191980"/>
              <a:gd name="connsiteY18" fmla="*/ 210279 h 6184462"/>
              <a:gd name="connsiteX19" fmla="*/ 4224364 w 6191980"/>
              <a:gd name="connsiteY19" fmla="*/ 217789 h 6184462"/>
              <a:gd name="connsiteX20" fmla="*/ 4280690 w 6191980"/>
              <a:gd name="connsiteY20" fmla="*/ 234686 h 6184462"/>
              <a:gd name="connsiteX21" fmla="*/ 4327628 w 6191980"/>
              <a:gd name="connsiteY21" fmla="*/ 259094 h 6184462"/>
              <a:gd name="connsiteX22" fmla="*/ 4372686 w 6191980"/>
              <a:gd name="connsiteY22" fmla="*/ 291012 h 6184462"/>
              <a:gd name="connsiteX23" fmla="*/ 4412114 w 6191980"/>
              <a:gd name="connsiteY23" fmla="*/ 328561 h 6184462"/>
              <a:gd name="connsiteX24" fmla="*/ 4451542 w 6191980"/>
              <a:gd name="connsiteY24" fmla="*/ 371743 h 6184462"/>
              <a:gd name="connsiteX25" fmla="*/ 4487214 w 6191980"/>
              <a:gd name="connsiteY25" fmla="*/ 416803 h 6184462"/>
              <a:gd name="connsiteX26" fmla="*/ 4522886 w 6191980"/>
              <a:gd name="connsiteY26" fmla="*/ 463741 h 6184462"/>
              <a:gd name="connsiteX27" fmla="*/ 4558559 w 6191980"/>
              <a:gd name="connsiteY27" fmla="*/ 510678 h 6184462"/>
              <a:gd name="connsiteX28" fmla="*/ 4594231 w 6191980"/>
              <a:gd name="connsiteY28" fmla="*/ 555737 h 6184462"/>
              <a:gd name="connsiteX29" fmla="*/ 4631782 w 6191980"/>
              <a:gd name="connsiteY29" fmla="*/ 598919 h 6184462"/>
              <a:gd name="connsiteX30" fmla="*/ 4674964 w 6191980"/>
              <a:gd name="connsiteY30" fmla="*/ 636471 h 6184462"/>
              <a:gd name="connsiteX31" fmla="*/ 4716270 w 6191980"/>
              <a:gd name="connsiteY31" fmla="*/ 670266 h 6184462"/>
              <a:gd name="connsiteX32" fmla="*/ 4763206 w 6191980"/>
              <a:gd name="connsiteY32" fmla="*/ 696549 h 6184462"/>
              <a:gd name="connsiteX33" fmla="*/ 4813899 w 6191980"/>
              <a:gd name="connsiteY33" fmla="*/ 719079 h 6184462"/>
              <a:gd name="connsiteX34" fmla="*/ 4868345 w 6191980"/>
              <a:gd name="connsiteY34" fmla="*/ 737854 h 6184462"/>
              <a:gd name="connsiteX35" fmla="*/ 4924669 w 6191980"/>
              <a:gd name="connsiteY35" fmla="*/ 754751 h 6184462"/>
              <a:gd name="connsiteX36" fmla="*/ 4980995 w 6191980"/>
              <a:gd name="connsiteY36" fmla="*/ 769772 h 6184462"/>
              <a:gd name="connsiteX37" fmla="*/ 5039198 w 6191980"/>
              <a:gd name="connsiteY37" fmla="*/ 784792 h 6184462"/>
              <a:gd name="connsiteX38" fmla="*/ 5093644 w 6191980"/>
              <a:gd name="connsiteY38" fmla="*/ 801690 h 6184462"/>
              <a:gd name="connsiteX39" fmla="*/ 5148091 w 6191980"/>
              <a:gd name="connsiteY39" fmla="*/ 820464 h 6184462"/>
              <a:gd name="connsiteX40" fmla="*/ 5198784 w 6191980"/>
              <a:gd name="connsiteY40" fmla="*/ 842995 h 6184462"/>
              <a:gd name="connsiteX41" fmla="*/ 5243845 w 6191980"/>
              <a:gd name="connsiteY41" fmla="*/ 871157 h 6184462"/>
              <a:gd name="connsiteX42" fmla="*/ 5285151 w 6191980"/>
              <a:gd name="connsiteY42" fmla="*/ 904952 h 6184462"/>
              <a:gd name="connsiteX43" fmla="*/ 5318944 w 6191980"/>
              <a:gd name="connsiteY43" fmla="*/ 946257 h 6184462"/>
              <a:gd name="connsiteX44" fmla="*/ 5347108 w 6191980"/>
              <a:gd name="connsiteY44" fmla="*/ 991317 h 6184462"/>
              <a:gd name="connsiteX45" fmla="*/ 5369636 w 6191980"/>
              <a:gd name="connsiteY45" fmla="*/ 1042007 h 6184462"/>
              <a:gd name="connsiteX46" fmla="*/ 5388410 w 6191980"/>
              <a:gd name="connsiteY46" fmla="*/ 1096456 h 6184462"/>
              <a:gd name="connsiteX47" fmla="*/ 5405308 w 6191980"/>
              <a:gd name="connsiteY47" fmla="*/ 1150903 h 6184462"/>
              <a:gd name="connsiteX48" fmla="*/ 5420328 w 6191980"/>
              <a:gd name="connsiteY48" fmla="*/ 1209105 h 6184462"/>
              <a:gd name="connsiteX49" fmla="*/ 5435349 w 6191980"/>
              <a:gd name="connsiteY49" fmla="*/ 1265429 h 6184462"/>
              <a:gd name="connsiteX50" fmla="*/ 5452246 w 6191980"/>
              <a:gd name="connsiteY50" fmla="*/ 1321755 h 6184462"/>
              <a:gd name="connsiteX51" fmla="*/ 5471021 w 6191980"/>
              <a:gd name="connsiteY51" fmla="*/ 1376203 h 6184462"/>
              <a:gd name="connsiteX52" fmla="*/ 5493550 w 6191980"/>
              <a:gd name="connsiteY52" fmla="*/ 1426896 h 6184462"/>
              <a:gd name="connsiteX53" fmla="*/ 5519836 w 6191980"/>
              <a:gd name="connsiteY53" fmla="*/ 1473832 h 6184462"/>
              <a:gd name="connsiteX54" fmla="*/ 5553632 w 6191980"/>
              <a:gd name="connsiteY54" fmla="*/ 1515138 h 6184462"/>
              <a:gd name="connsiteX55" fmla="*/ 5591181 w 6191980"/>
              <a:gd name="connsiteY55" fmla="*/ 1558320 h 6184462"/>
              <a:gd name="connsiteX56" fmla="*/ 5634364 w 6191980"/>
              <a:gd name="connsiteY56" fmla="*/ 1595869 h 6184462"/>
              <a:gd name="connsiteX57" fmla="*/ 5679425 w 6191980"/>
              <a:gd name="connsiteY57" fmla="*/ 1631541 h 6184462"/>
              <a:gd name="connsiteX58" fmla="*/ 5728238 w 6191980"/>
              <a:gd name="connsiteY58" fmla="*/ 1667213 h 6184462"/>
              <a:gd name="connsiteX59" fmla="*/ 5775175 w 6191980"/>
              <a:gd name="connsiteY59" fmla="*/ 1702885 h 6184462"/>
              <a:gd name="connsiteX60" fmla="*/ 5820236 w 6191980"/>
              <a:gd name="connsiteY60" fmla="*/ 1738560 h 6184462"/>
              <a:gd name="connsiteX61" fmla="*/ 5863416 w 6191980"/>
              <a:gd name="connsiteY61" fmla="*/ 1777986 h 6184462"/>
              <a:gd name="connsiteX62" fmla="*/ 5900968 w 6191980"/>
              <a:gd name="connsiteY62" fmla="*/ 1817414 h 6184462"/>
              <a:gd name="connsiteX63" fmla="*/ 5932886 w 6191980"/>
              <a:gd name="connsiteY63" fmla="*/ 1862474 h 6184462"/>
              <a:gd name="connsiteX64" fmla="*/ 5957294 w 6191980"/>
              <a:gd name="connsiteY64" fmla="*/ 1909410 h 6184462"/>
              <a:gd name="connsiteX65" fmla="*/ 5974191 w 6191980"/>
              <a:gd name="connsiteY65" fmla="*/ 1965736 h 6184462"/>
              <a:gd name="connsiteX66" fmla="*/ 5981700 w 6191980"/>
              <a:gd name="connsiteY66" fmla="*/ 2023938 h 6184462"/>
              <a:gd name="connsiteX67" fmla="*/ 5983578 w 6191980"/>
              <a:gd name="connsiteY67" fmla="*/ 2084018 h 6184462"/>
              <a:gd name="connsiteX68" fmla="*/ 5977945 w 6191980"/>
              <a:gd name="connsiteY68" fmla="*/ 2147852 h 6184462"/>
              <a:gd name="connsiteX69" fmla="*/ 5970435 w 6191980"/>
              <a:gd name="connsiteY69" fmla="*/ 2211686 h 6184462"/>
              <a:gd name="connsiteX70" fmla="*/ 5961048 w 6191980"/>
              <a:gd name="connsiteY70" fmla="*/ 2275522 h 6184462"/>
              <a:gd name="connsiteX71" fmla="*/ 5953538 w 6191980"/>
              <a:gd name="connsiteY71" fmla="*/ 2339356 h 6184462"/>
              <a:gd name="connsiteX72" fmla="*/ 5949784 w 6191980"/>
              <a:gd name="connsiteY72" fmla="*/ 2403192 h 6184462"/>
              <a:gd name="connsiteX73" fmla="*/ 5949784 w 6191980"/>
              <a:gd name="connsiteY73" fmla="*/ 2465149 h 6184462"/>
              <a:gd name="connsiteX74" fmla="*/ 5957294 w 6191980"/>
              <a:gd name="connsiteY74" fmla="*/ 2523350 h 6184462"/>
              <a:gd name="connsiteX75" fmla="*/ 5972312 w 6191980"/>
              <a:gd name="connsiteY75" fmla="*/ 2581552 h 6184462"/>
              <a:gd name="connsiteX76" fmla="*/ 5994843 w 6191980"/>
              <a:gd name="connsiteY76" fmla="*/ 2636001 h 6184462"/>
              <a:gd name="connsiteX77" fmla="*/ 6024884 w 6191980"/>
              <a:gd name="connsiteY77" fmla="*/ 2692325 h 6184462"/>
              <a:gd name="connsiteX78" fmla="*/ 6054922 w 6191980"/>
              <a:gd name="connsiteY78" fmla="*/ 2748651 h 6184462"/>
              <a:gd name="connsiteX79" fmla="*/ 6088718 w 6191980"/>
              <a:gd name="connsiteY79" fmla="*/ 2804974 h 6184462"/>
              <a:gd name="connsiteX80" fmla="*/ 6120634 w 6191980"/>
              <a:gd name="connsiteY80" fmla="*/ 2859423 h 6184462"/>
              <a:gd name="connsiteX81" fmla="*/ 6148798 w 6191980"/>
              <a:gd name="connsiteY81" fmla="*/ 2917624 h 6184462"/>
              <a:gd name="connsiteX82" fmla="*/ 6171326 w 6191980"/>
              <a:gd name="connsiteY82" fmla="*/ 2973950 h 6184462"/>
              <a:gd name="connsiteX83" fmla="*/ 6186347 w 6191980"/>
              <a:gd name="connsiteY83" fmla="*/ 3032152 h 6184462"/>
              <a:gd name="connsiteX84" fmla="*/ 6191980 w 6191980"/>
              <a:gd name="connsiteY84" fmla="*/ 3092230 h 6184462"/>
              <a:gd name="connsiteX85" fmla="*/ 6186347 w 6191980"/>
              <a:gd name="connsiteY85" fmla="*/ 3152310 h 6184462"/>
              <a:gd name="connsiteX86" fmla="*/ 6171326 w 6191980"/>
              <a:gd name="connsiteY86" fmla="*/ 3210513 h 6184462"/>
              <a:gd name="connsiteX87" fmla="*/ 6148798 w 6191980"/>
              <a:gd name="connsiteY87" fmla="*/ 3266839 h 6184462"/>
              <a:gd name="connsiteX88" fmla="*/ 6120634 w 6191980"/>
              <a:gd name="connsiteY88" fmla="*/ 3325039 h 6184462"/>
              <a:gd name="connsiteX89" fmla="*/ 6088718 w 6191980"/>
              <a:gd name="connsiteY89" fmla="*/ 3379488 h 6184462"/>
              <a:gd name="connsiteX90" fmla="*/ 6054922 w 6191980"/>
              <a:gd name="connsiteY90" fmla="*/ 3435814 h 6184462"/>
              <a:gd name="connsiteX91" fmla="*/ 6024884 w 6191980"/>
              <a:gd name="connsiteY91" fmla="*/ 3492137 h 6184462"/>
              <a:gd name="connsiteX92" fmla="*/ 5994843 w 6191980"/>
              <a:gd name="connsiteY92" fmla="*/ 3548461 h 6184462"/>
              <a:gd name="connsiteX93" fmla="*/ 5972312 w 6191980"/>
              <a:gd name="connsiteY93" fmla="*/ 3602910 h 6184462"/>
              <a:gd name="connsiteX94" fmla="*/ 5957294 w 6191980"/>
              <a:gd name="connsiteY94" fmla="*/ 3661113 h 6184462"/>
              <a:gd name="connsiteX95" fmla="*/ 5949784 w 6191980"/>
              <a:gd name="connsiteY95" fmla="*/ 3719313 h 6184462"/>
              <a:gd name="connsiteX96" fmla="*/ 5949784 w 6191980"/>
              <a:gd name="connsiteY96" fmla="*/ 3781272 h 6184462"/>
              <a:gd name="connsiteX97" fmla="*/ 5953538 w 6191980"/>
              <a:gd name="connsiteY97" fmla="*/ 3845106 h 6184462"/>
              <a:gd name="connsiteX98" fmla="*/ 5961048 w 6191980"/>
              <a:gd name="connsiteY98" fmla="*/ 3908940 h 6184462"/>
              <a:gd name="connsiteX99" fmla="*/ 5970435 w 6191980"/>
              <a:gd name="connsiteY99" fmla="*/ 3972776 h 6184462"/>
              <a:gd name="connsiteX100" fmla="*/ 5977945 w 6191980"/>
              <a:gd name="connsiteY100" fmla="*/ 4036610 h 6184462"/>
              <a:gd name="connsiteX101" fmla="*/ 5983578 w 6191980"/>
              <a:gd name="connsiteY101" fmla="*/ 4100444 h 6184462"/>
              <a:gd name="connsiteX102" fmla="*/ 5981700 w 6191980"/>
              <a:gd name="connsiteY102" fmla="*/ 4160526 h 6184462"/>
              <a:gd name="connsiteX103" fmla="*/ 5974191 w 6191980"/>
              <a:gd name="connsiteY103" fmla="*/ 4218729 h 6184462"/>
              <a:gd name="connsiteX104" fmla="*/ 5957294 w 6191980"/>
              <a:gd name="connsiteY104" fmla="*/ 4275053 h 6184462"/>
              <a:gd name="connsiteX105" fmla="*/ 5932886 w 6191980"/>
              <a:gd name="connsiteY105" fmla="*/ 4321989 h 6184462"/>
              <a:gd name="connsiteX106" fmla="*/ 5900968 w 6191980"/>
              <a:gd name="connsiteY106" fmla="*/ 4367050 h 6184462"/>
              <a:gd name="connsiteX107" fmla="*/ 5863416 w 6191980"/>
              <a:gd name="connsiteY107" fmla="*/ 4406477 h 6184462"/>
              <a:gd name="connsiteX108" fmla="*/ 5820236 w 6191980"/>
              <a:gd name="connsiteY108" fmla="*/ 4445903 h 6184462"/>
              <a:gd name="connsiteX109" fmla="*/ 5775175 w 6191980"/>
              <a:gd name="connsiteY109" fmla="*/ 4481577 h 6184462"/>
              <a:gd name="connsiteX110" fmla="*/ 5728238 w 6191980"/>
              <a:gd name="connsiteY110" fmla="*/ 4517249 h 6184462"/>
              <a:gd name="connsiteX111" fmla="*/ 5679425 w 6191980"/>
              <a:gd name="connsiteY111" fmla="*/ 4552921 h 6184462"/>
              <a:gd name="connsiteX112" fmla="*/ 5634364 w 6191980"/>
              <a:gd name="connsiteY112" fmla="*/ 4588593 h 6184462"/>
              <a:gd name="connsiteX113" fmla="*/ 5591181 w 6191980"/>
              <a:gd name="connsiteY113" fmla="*/ 4626142 h 6184462"/>
              <a:gd name="connsiteX114" fmla="*/ 5553632 w 6191980"/>
              <a:gd name="connsiteY114" fmla="*/ 4669325 h 6184462"/>
              <a:gd name="connsiteX115" fmla="*/ 5519836 w 6191980"/>
              <a:gd name="connsiteY115" fmla="*/ 4710630 h 6184462"/>
              <a:gd name="connsiteX116" fmla="*/ 5493550 w 6191980"/>
              <a:gd name="connsiteY116" fmla="*/ 4757566 h 6184462"/>
              <a:gd name="connsiteX117" fmla="*/ 5471021 w 6191980"/>
              <a:gd name="connsiteY117" fmla="*/ 4808259 h 6184462"/>
              <a:gd name="connsiteX118" fmla="*/ 5452246 w 6191980"/>
              <a:gd name="connsiteY118" fmla="*/ 4862708 h 6184462"/>
              <a:gd name="connsiteX119" fmla="*/ 5435349 w 6191980"/>
              <a:gd name="connsiteY119" fmla="*/ 4919033 h 6184462"/>
              <a:gd name="connsiteX120" fmla="*/ 5420328 w 6191980"/>
              <a:gd name="connsiteY120" fmla="*/ 4975357 h 6184462"/>
              <a:gd name="connsiteX121" fmla="*/ 5405308 w 6191980"/>
              <a:gd name="connsiteY121" fmla="*/ 5033560 h 6184462"/>
              <a:gd name="connsiteX122" fmla="*/ 5388410 w 6191980"/>
              <a:gd name="connsiteY122" fmla="*/ 5088007 h 6184462"/>
              <a:gd name="connsiteX123" fmla="*/ 5369636 w 6191980"/>
              <a:gd name="connsiteY123" fmla="*/ 5142453 h 6184462"/>
              <a:gd name="connsiteX124" fmla="*/ 5347108 w 6191980"/>
              <a:gd name="connsiteY124" fmla="*/ 5193146 h 6184462"/>
              <a:gd name="connsiteX125" fmla="*/ 5318944 w 6191980"/>
              <a:gd name="connsiteY125" fmla="*/ 5238207 h 6184462"/>
              <a:gd name="connsiteX126" fmla="*/ 5285151 w 6191980"/>
              <a:gd name="connsiteY126" fmla="*/ 5279510 h 6184462"/>
              <a:gd name="connsiteX127" fmla="*/ 5243845 w 6191980"/>
              <a:gd name="connsiteY127" fmla="*/ 5313305 h 6184462"/>
              <a:gd name="connsiteX128" fmla="*/ 5198784 w 6191980"/>
              <a:gd name="connsiteY128" fmla="*/ 5341467 h 6184462"/>
              <a:gd name="connsiteX129" fmla="*/ 5148091 w 6191980"/>
              <a:gd name="connsiteY129" fmla="*/ 5363998 h 6184462"/>
              <a:gd name="connsiteX130" fmla="*/ 5093644 w 6191980"/>
              <a:gd name="connsiteY130" fmla="*/ 5382773 h 6184462"/>
              <a:gd name="connsiteX131" fmla="*/ 5039198 w 6191980"/>
              <a:gd name="connsiteY131" fmla="*/ 5399670 h 6184462"/>
              <a:gd name="connsiteX132" fmla="*/ 4980995 w 6191980"/>
              <a:gd name="connsiteY132" fmla="*/ 5414691 h 6184462"/>
              <a:gd name="connsiteX133" fmla="*/ 4924669 w 6191980"/>
              <a:gd name="connsiteY133" fmla="*/ 5429711 h 6184462"/>
              <a:gd name="connsiteX134" fmla="*/ 4868345 w 6191980"/>
              <a:gd name="connsiteY134" fmla="*/ 5446609 h 6184462"/>
              <a:gd name="connsiteX135" fmla="*/ 4813899 w 6191980"/>
              <a:gd name="connsiteY135" fmla="*/ 5465383 h 6184462"/>
              <a:gd name="connsiteX136" fmla="*/ 4763206 w 6191980"/>
              <a:gd name="connsiteY136" fmla="*/ 5487914 h 6184462"/>
              <a:gd name="connsiteX137" fmla="*/ 4716270 w 6191980"/>
              <a:gd name="connsiteY137" fmla="*/ 5514197 h 6184462"/>
              <a:gd name="connsiteX138" fmla="*/ 4674964 w 6191980"/>
              <a:gd name="connsiteY138" fmla="*/ 5547992 h 6184462"/>
              <a:gd name="connsiteX139" fmla="*/ 4631782 w 6191980"/>
              <a:gd name="connsiteY139" fmla="*/ 5585543 h 6184462"/>
              <a:gd name="connsiteX140" fmla="*/ 4594231 w 6191980"/>
              <a:gd name="connsiteY140" fmla="*/ 5628725 h 6184462"/>
              <a:gd name="connsiteX141" fmla="*/ 4558559 w 6191980"/>
              <a:gd name="connsiteY141" fmla="*/ 5673785 h 6184462"/>
              <a:gd name="connsiteX142" fmla="*/ 4522886 w 6191980"/>
              <a:gd name="connsiteY142" fmla="*/ 5720721 h 6184462"/>
              <a:gd name="connsiteX143" fmla="*/ 4487214 w 6191980"/>
              <a:gd name="connsiteY143" fmla="*/ 5767659 h 6184462"/>
              <a:gd name="connsiteX144" fmla="*/ 4451542 w 6191980"/>
              <a:gd name="connsiteY144" fmla="*/ 5812719 h 6184462"/>
              <a:gd name="connsiteX145" fmla="*/ 4412114 w 6191980"/>
              <a:gd name="connsiteY145" fmla="*/ 5855901 h 6184462"/>
              <a:gd name="connsiteX146" fmla="*/ 4372686 w 6191980"/>
              <a:gd name="connsiteY146" fmla="*/ 5893450 h 6184462"/>
              <a:gd name="connsiteX147" fmla="*/ 4327628 w 6191980"/>
              <a:gd name="connsiteY147" fmla="*/ 5925368 h 6184462"/>
              <a:gd name="connsiteX148" fmla="*/ 4280690 w 6191980"/>
              <a:gd name="connsiteY148" fmla="*/ 5949776 h 6184462"/>
              <a:gd name="connsiteX149" fmla="*/ 4224364 w 6191980"/>
              <a:gd name="connsiteY149" fmla="*/ 5966674 h 6184462"/>
              <a:gd name="connsiteX150" fmla="*/ 4166161 w 6191980"/>
              <a:gd name="connsiteY150" fmla="*/ 5974184 h 6184462"/>
              <a:gd name="connsiteX151" fmla="*/ 4106083 w 6191980"/>
              <a:gd name="connsiteY151" fmla="*/ 5976061 h 6184462"/>
              <a:gd name="connsiteX152" fmla="*/ 4042247 w 6191980"/>
              <a:gd name="connsiteY152" fmla="*/ 5970428 h 6184462"/>
              <a:gd name="connsiteX153" fmla="*/ 3978413 w 6191980"/>
              <a:gd name="connsiteY153" fmla="*/ 5962919 h 6184462"/>
              <a:gd name="connsiteX154" fmla="*/ 3914577 w 6191980"/>
              <a:gd name="connsiteY154" fmla="*/ 5953530 h 6184462"/>
              <a:gd name="connsiteX155" fmla="*/ 3850743 w 6191980"/>
              <a:gd name="connsiteY155" fmla="*/ 5946022 h 6184462"/>
              <a:gd name="connsiteX156" fmla="*/ 3786907 w 6191980"/>
              <a:gd name="connsiteY156" fmla="*/ 5942266 h 6184462"/>
              <a:gd name="connsiteX157" fmla="*/ 3724950 w 6191980"/>
              <a:gd name="connsiteY157" fmla="*/ 5942266 h 6184462"/>
              <a:gd name="connsiteX158" fmla="*/ 3666749 w 6191980"/>
              <a:gd name="connsiteY158" fmla="*/ 5949776 h 6184462"/>
              <a:gd name="connsiteX159" fmla="*/ 3606669 w 6191980"/>
              <a:gd name="connsiteY159" fmla="*/ 5964797 h 6184462"/>
              <a:gd name="connsiteX160" fmla="*/ 3552221 w 6191980"/>
              <a:gd name="connsiteY160" fmla="*/ 5987325 h 6184462"/>
              <a:gd name="connsiteX161" fmla="*/ 3495897 w 6191980"/>
              <a:gd name="connsiteY161" fmla="*/ 6017366 h 6184462"/>
              <a:gd name="connsiteX162" fmla="*/ 3439573 w 6191980"/>
              <a:gd name="connsiteY162" fmla="*/ 6047407 h 6184462"/>
              <a:gd name="connsiteX163" fmla="*/ 3383247 w 6191980"/>
              <a:gd name="connsiteY163" fmla="*/ 6081200 h 6184462"/>
              <a:gd name="connsiteX164" fmla="*/ 3328798 w 6191980"/>
              <a:gd name="connsiteY164" fmla="*/ 6113118 h 6184462"/>
              <a:gd name="connsiteX165" fmla="*/ 3270598 w 6191980"/>
              <a:gd name="connsiteY165" fmla="*/ 6141280 h 6184462"/>
              <a:gd name="connsiteX166" fmla="*/ 3214272 w 6191980"/>
              <a:gd name="connsiteY166" fmla="*/ 6163811 h 6184462"/>
              <a:gd name="connsiteX167" fmla="*/ 3156069 w 6191980"/>
              <a:gd name="connsiteY167" fmla="*/ 6178831 h 6184462"/>
              <a:gd name="connsiteX168" fmla="*/ 3095991 w 6191980"/>
              <a:gd name="connsiteY168" fmla="*/ 6184462 h 6184462"/>
              <a:gd name="connsiteX169" fmla="*/ 3035911 w 6191980"/>
              <a:gd name="connsiteY169" fmla="*/ 6178831 h 6184462"/>
              <a:gd name="connsiteX170" fmla="*/ 2977708 w 6191980"/>
              <a:gd name="connsiteY170" fmla="*/ 6163811 h 6184462"/>
              <a:gd name="connsiteX171" fmla="*/ 2921385 w 6191980"/>
              <a:gd name="connsiteY171" fmla="*/ 6141280 h 6184462"/>
              <a:gd name="connsiteX172" fmla="*/ 2863182 w 6191980"/>
              <a:gd name="connsiteY172" fmla="*/ 6113118 h 6184462"/>
              <a:gd name="connsiteX173" fmla="*/ 2808733 w 6191980"/>
              <a:gd name="connsiteY173" fmla="*/ 6081200 h 6184462"/>
              <a:gd name="connsiteX174" fmla="*/ 2752409 w 6191980"/>
              <a:gd name="connsiteY174" fmla="*/ 6047407 h 6184462"/>
              <a:gd name="connsiteX175" fmla="*/ 2696083 w 6191980"/>
              <a:gd name="connsiteY175" fmla="*/ 6017366 h 6184462"/>
              <a:gd name="connsiteX176" fmla="*/ 2639760 w 6191980"/>
              <a:gd name="connsiteY176" fmla="*/ 5987325 h 6184462"/>
              <a:gd name="connsiteX177" fmla="*/ 2583436 w 6191980"/>
              <a:gd name="connsiteY177" fmla="*/ 5964797 h 6184462"/>
              <a:gd name="connsiteX178" fmla="*/ 2525233 w 6191980"/>
              <a:gd name="connsiteY178" fmla="*/ 5949776 h 6184462"/>
              <a:gd name="connsiteX179" fmla="*/ 2467030 w 6191980"/>
              <a:gd name="connsiteY179" fmla="*/ 5942266 h 6184462"/>
              <a:gd name="connsiteX180" fmla="*/ 2405071 w 6191980"/>
              <a:gd name="connsiteY180" fmla="*/ 5942266 h 6184462"/>
              <a:gd name="connsiteX181" fmla="*/ 2341237 w 6191980"/>
              <a:gd name="connsiteY181" fmla="*/ 5946022 h 6184462"/>
              <a:gd name="connsiteX182" fmla="*/ 2277403 w 6191980"/>
              <a:gd name="connsiteY182" fmla="*/ 5953530 h 6184462"/>
              <a:gd name="connsiteX183" fmla="*/ 2213567 w 6191980"/>
              <a:gd name="connsiteY183" fmla="*/ 5962919 h 6184462"/>
              <a:gd name="connsiteX184" fmla="*/ 2149731 w 6191980"/>
              <a:gd name="connsiteY184" fmla="*/ 5970428 h 6184462"/>
              <a:gd name="connsiteX185" fmla="*/ 2085897 w 6191980"/>
              <a:gd name="connsiteY185" fmla="*/ 5976061 h 6184462"/>
              <a:gd name="connsiteX186" fmla="*/ 2025819 w 6191980"/>
              <a:gd name="connsiteY186" fmla="*/ 5974184 h 6184462"/>
              <a:gd name="connsiteX187" fmla="*/ 1967617 w 6191980"/>
              <a:gd name="connsiteY187" fmla="*/ 5966674 h 6184462"/>
              <a:gd name="connsiteX188" fmla="*/ 1911291 w 6191980"/>
              <a:gd name="connsiteY188" fmla="*/ 5949776 h 6184462"/>
              <a:gd name="connsiteX189" fmla="*/ 1864354 w 6191980"/>
              <a:gd name="connsiteY189" fmla="*/ 5925368 h 6184462"/>
              <a:gd name="connsiteX190" fmla="*/ 1819293 w 6191980"/>
              <a:gd name="connsiteY190" fmla="*/ 5893450 h 6184462"/>
              <a:gd name="connsiteX191" fmla="*/ 1779867 w 6191980"/>
              <a:gd name="connsiteY191" fmla="*/ 5855901 h 6184462"/>
              <a:gd name="connsiteX192" fmla="*/ 1740438 w 6191980"/>
              <a:gd name="connsiteY192" fmla="*/ 5812719 h 6184462"/>
              <a:gd name="connsiteX193" fmla="*/ 1704766 w 6191980"/>
              <a:gd name="connsiteY193" fmla="*/ 5767659 h 6184462"/>
              <a:gd name="connsiteX194" fmla="*/ 1669094 w 6191980"/>
              <a:gd name="connsiteY194" fmla="*/ 5720721 h 6184462"/>
              <a:gd name="connsiteX195" fmla="*/ 1633422 w 6191980"/>
              <a:gd name="connsiteY195" fmla="*/ 5673785 h 6184462"/>
              <a:gd name="connsiteX196" fmla="*/ 1597750 w 6191980"/>
              <a:gd name="connsiteY196" fmla="*/ 5628725 h 6184462"/>
              <a:gd name="connsiteX197" fmla="*/ 1560199 w 6191980"/>
              <a:gd name="connsiteY197" fmla="*/ 5585543 h 6184462"/>
              <a:gd name="connsiteX198" fmla="*/ 1517016 w 6191980"/>
              <a:gd name="connsiteY198" fmla="*/ 5547992 h 6184462"/>
              <a:gd name="connsiteX199" fmla="*/ 1475711 w 6191980"/>
              <a:gd name="connsiteY199" fmla="*/ 5514197 h 6184462"/>
              <a:gd name="connsiteX200" fmla="*/ 1428774 w 6191980"/>
              <a:gd name="connsiteY200" fmla="*/ 5487914 h 6184462"/>
              <a:gd name="connsiteX201" fmla="*/ 1378082 w 6191980"/>
              <a:gd name="connsiteY201" fmla="*/ 5465383 h 6184462"/>
              <a:gd name="connsiteX202" fmla="*/ 1323635 w 6191980"/>
              <a:gd name="connsiteY202" fmla="*/ 5446609 h 6184462"/>
              <a:gd name="connsiteX203" fmla="*/ 1267309 w 6191980"/>
              <a:gd name="connsiteY203" fmla="*/ 5429711 h 6184462"/>
              <a:gd name="connsiteX204" fmla="*/ 1210986 w 6191980"/>
              <a:gd name="connsiteY204" fmla="*/ 5414691 h 6184462"/>
              <a:gd name="connsiteX205" fmla="*/ 1152783 w 6191980"/>
              <a:gd name="connsiteY205" fmla="*/ 5399670 h 6184462"/>
              <a:gd name="connsiteX206" fmla="*/ 1098336 w 6191980"/>
              <a:gd name="connsiteY206" fmla="*/ 5382773 h 6184462"/>
              <a:gd name="connsiteX207" fmla="*/ 1043887 w 6191980"/>
              <a:gd name="connsiteY207" fmla="*/ 5363998 h 6184462"/>
              <a:gd name="connsiteX208" fmla="*/ 993197 w 6191980"/>
              <a:gd name="connsiteY208" fmla="*/ 5341467 h 6184462"/>
              <a:gd name="connsiteX209" fmla="*/ 948135 w 6191980"/>
              <a:gd name="connsiteY209" fmla="*/ 5313305 h 6184462"/>
              <a:gd name="connsiteX210" fmla="*/ 906830 w 6191980"/>
              <a:gd name="connsiteY210" fmla="*/ 5279510 h 6184462"/>
              <a:gd name="connsiteX211" fmla="*/ 873037 w 6191980"/>
              <a:gd name="connsiteY211" fmla="*/ 5238207 h 6184462"/>
              <a:gd name="connsiteX212" fmla="*/ 844875 w 6191980"/>
              <a:gd name="connsiteY212" fmla="*/ 5193146 h 6184462"/>
              <a:gd name="connsiteX213" fmla="*/ 822344 w 6191980"/>
              <a:gd name="connsiteY213" fmla="*/ 5142453 h 6184462"/>
              <a:gd name="connsiteX214" fmla="*/ 803570 w 6191980"/>
              <a:gd name="connsiteY214" fmla="*/ 5088007 h 6184462"/>
              <a:gd name="connsiteX215" fmla="*/ 786672 w 6191980"/>
              <a:gd name="connsiteY215" fmla="*/ 5033560 h 6184462"/>
              <a:gd name="connsiteX216" fmla="*/ 771652 w 6191980"/>
              <a:gd name="connsiteY216" fmla="*/ 4975357 h 6184462"/>
              <a:gd name="connsiteX217" fmla="*/ 756631 w 6191980"/>
              <a:gd name="connsiteY217" fmla="*/ 4919033 h 6184462"/>
              <a:gd name="connsiteX218" fmla="*/ 739734 w 6191980"/>
              <a:gd name="connsiteY218" fmla="*/ 4862708 h 6184462"/>
              <a:gd name="connsiteX219" fmla="*/ 720959 w 6191980"/>
              <a:gd name="connsiteY219" fmla="*/ 4808259 h 6184462"/>
              <a:gd name="connsiteX220" fmla="*/ 698428 w 6191980"/>
              <a:gd name="connsiteY220" fmla="*/ 4757566 h 6184462"/>
              <a:gd name="connsiteX221" fmla="*/ 672143 w 6191980"/>
              <a:gd name="connsiteY221" fmla="*/ 4710630 h 6184462"/>
              <a:gd name="connsiteX222" fmla="*/ 638351 w 6191980"/>
              <a:gd name="connsiteY222" fmla="*/ 4669325 h 6184462"/>
              <a:gd name="connsiteX223" fmla="*/ 600799 w 6191980"/>
              <a:gd name="connsiteY223" fmla="*/ 4626142 h 6184462"/>
              <a:gd name="connsiteX224" fmla="*/ 557617 w 6191980"/>
              <a:gd name="connsiteY224" fmla="*/ 4588593 h 6184462"/>
              <a:gd name="connsiteX225" fmla="*/ 510678 w 6191980"/>
              <a:gd name="connsiteY225" fmla="*/ 4552921 h 6184462"/>
              <a:gd name="connsiteX226" fmla="*/ 463742 w 6191980"/>
              <a:gd name="connsiteY226" fmla="*/ 4517249 h 6184462"/>
              <a:gd name="connsiteX227" fmla="*/ 416805 w 6191980"/>
              <a:gd name="connsiteY227" fmla="*/ 4481577 h 6184462"/>
              <a:gd name="connsiteX228" fmla="*/ 371744 w 6191980"/>
              <a:gd name="connsiteY228" fmla="*/ 4445903 h 6184462"/>
              <a:gd name="connsiteX229" fmla="*/ 328562 w 6191980"/>
              <a:gd name="connsiteY229" fmla="*/ 4406477 h 6184462"/>
              <a:gd name="connsiteX230" fmla="*/ 291012 w 6191980"/>
              <a:gd name="connsiteY230" fmla="*/ 4367050 h 6184462"/>
              <a:gd name="connsiteX231" fmla="*/ 259096 w 6191980"/>
              <a:gd name="connsiteY231" fmla="*/ 4321989 h 6184462"/>
              <a:gd name="connsiteX232" fmla="*/ 234689 w 6191980"/>
              <a:gd name="connsiteY232" fmla="*/ 4275053 h 6184462"/>
              <a:gd name="connsiteX233" fmla="*/ 217791 w 6191980"/>
              <a:gd name="connsiteY233" fmla="*/ 4218729 h 6184462"/>
              <a:gd name="connsiteX234" fmla="*/ 210281 w 6191980"/>
              <a:gd name="connsiteY234" fmla="*/ 4160526 h 6184462"/>
              <a:gd name="connsiteX235" fmla="*/ 208402 w 6191980"/>
              <a:gd name="connsiteY235" fmla="*/ 4100444 h 6184462"/>
              <a:gd name="connsiteX236" fmla="*/ 214035 w 6191980"/>
              <a:gd name="connsiteY236" fmla="*/ 4036610 h 6184462"/>
              <a:gd name="connsiteX237" fmla="*/ 221545 w 6191980"/>
              <a:gd name="connsiteY237" fmla="*/ 3972776 h 6184462"/>
              <a:gd name="connsiteX238" fmla="*/ 230932 w 6191980"/>
              <a:gd name="connsiteY238" fmla="*/ 3908940 h 6184462"/>
              <a:gd name="connsiteX239" fmla="*/ 238443 w 6191980"/>
              <a:gd name="connsiteY239" fmla="*/ 3845106 h 6184462"/>
              <a:gd name="connsiteX240" fmla="*/ 242199 w 6191980"/>
              <a:gd name="connsiteY240" fmla="*/ 3781272 h 6184462"/>
              <a:gd name="connsiteX241" fmla="*/ 242199 w 6191980"/>
              <a:gd name="connsiteY241" fmla="*/ 3719313 h 6184462"/>
              <a:gd name="connsiteX242" fmla="*/ 234689 w 6191980"/>
              <a:gd name="connsiteY242" fmla="*/ 3661113 h 6184462"/>
              <a:gd name="connsiteX243" fmla="*/ 219668 w 6191980"/>
              <a:gd name="connsiteY243" fmla="*/ 3602910 h 6184462"/>
              <a:gd name="connsiteX244" fmla="*/ 197138 w 6191980"/>
              <a:gd name="connsiteY244" fmla="*/ 3548461 h 6184462"/>
              <a:gd name="connsiteX245" fmla="*/ 168976 w 6191980"/>
              <a:gd name="connsiteY245" fmla="*/ 3492137 h 6184462"/>
              <a:gd name="connsiteX246" fmla="*/ 137057 w 6191980"/>
              <a:gd name="connsiteY246" fmla="*/ 3435814 h 6184462"/>
              <a:gd name="connsiteX247" fmla="*/ 103264 w 6191980"/>
              <a:gd name="connsiteY247" fmla="*/ 3379488 h 6184462"/>
              <a:gd name="connsiteX248" fmla="*/ 71346 w 6191980"/>
              <a:gd name="connsiteY248" fmla="*/ 3325039 h 6184462"/>
              <a:gd name="connsiteX249" fmla="*/ 43182 w 6191980"/>
              <a:gd name="connsiteY249" fmla="*/ 3266839 h 6184462"/>
              <a:gd name="connsiteX250" fmla="*/ 20654 w 6191980"/>
              <a:gd name="connsiteY250" fmla="*/ 3210513 h 6184462"/>
              <a:gd name="connsiteX251" fmla="*/ 5634 w 6191980"/>
              <a:gd name="connsiteY251" fmla="*/ 3152310 h 6184462"/>
              <a:gd name="connsiteX252" fmla="*/ 0 w 6191980"/>
              <a:gd name="connsiteY252" fmla="*/ 3092230 h 6184462"/>
              <a:gd name="connsiteX253" fmla="*/ 5634 w 6191980"/>
              <a:gd name="connsiteY253" fmla="*/ 3032152 h 6184462"/>
              <a:gd name="connsiteX254" fmla="*/ 20654 w 6191980"/>
              <a:gd name="connsiteY254" fmla="*/ 2973950 h 6184462"/>
              <a:gd name="connsiteX255" fmla="*/ 43182 w 6191980"/>
              <a:gd name="connsiteY255" fmla="*/ 2917624 h 6184462"/>
              <a:gd name="connsiteX256" fmla="*/ 71346 w 6191980"/>
              <a:gd name="connsiteY256" fmla="*/ 2859423 h 6184462"/>
              <a:gd name="connsiteX257" fmla="*/ 103264 w 6191980"/>
              <a:gd name="connsiteY257" fmla="*/ 2804974 h 6184462"/>
              <a:gd name="connsiteX258" fmla="*/ 137057 w 6191980"/>
              <a:gd name="connsiteY258" fmla="*/ 2748651 h 6184462"/>
              <a:gd name="connsiteX259" fmla="*/ 168976 w 6191980"/>
              <a:gd name="connsiteY259" fmla="*/ 2692325 h 6184462"/>
              <a:gd name="connsiteX260" fmla="*/ 197138 w 6191980"/>
              <a:gd name="connsiteY260" fmla="*/ 2636001 h 6184462"/>
              <a:gd name="connsiteX261" fmla="*/ 219668 w 6191980"/>
              <a:gd name="connsiteY261" fmla="*/ 2581552 h 6184462"/>
              <a:gd name="connsiteX262" fmla="*/ 234689 w 6191980"/>
              <a:gd name="connsiteY262" fmla="*/ 2523350 h 6184462"/>
              <a:gd name="connsiteX263" fmla="*/ 242199 w 6191980"/>
              <a:gd name="connsiteY263" fmla="*/ 2465149 h 6184462"/>
              <a:gd name="connsiteX264" fmla="*/ 242199 w 6191980"/>
              <a:gd name="connsiteY264" fmla="*/ 2403192 h 6184462"/>
              <a:gd name="connsiteX265" fmla="*/ 238443 w 6191980"/>
              <a:gd name="connsiteY265" fmla="*/ 2339356 h 6184462"/>
              <a:gd name="connsiteX266" fmla="*/ 230932 w 6191980"/>
              <a:gd name="connsiteY266" fmla="*/ 2275522 h 6184462"/>
              <a:gd name="connsiteX267" fmla="*/ 221545 w 6191980"/>
              <a:gd name="connsiteY267" fmla="*/ 2211686 h 6184462"/>
              <a:gd name="connsiteX268" fmla="*/ 214035 w 6191980"/>
              <a:gd name="connsiteY268" fmla="*/ 2147852 h 6184462"/>
              <a:gd name="connsiteX269" fmla="*/ 208402 w 6191980"/>
              <a:gd name="connsiteY269" fmla="*/ 2084018 h 6184462"/>
              <a:gd name="connsiteX270" fmla="*/ 210281 w 6191980"/>
              <a:gd name="connsiteY270" fmla="*/ 2023938 h 6184462"/>
              <a:gd name="connsiteX271" fmla="*/ 217791 w 6191980"/>
              <a:gd name="connsiteY271" fmla="*/ 1965736 h 6184462"/>
              <a:gd name="connsiteX272" fmla="*/ 234689 w 6191980"/>
              <a:gd name="connsiteY272" fmla="*/ 1909410 h 6184462"/>
              <a:gd name="connsiteX273" fmla="*/ 259096 w 6191980"/>
              <a:gd name="connsiteY273" fmla="*/ 1862474 h 6184462"/>
              <a:gd name="connsiteX274" fmla="*/ 291012 w 6191980"/>
              <a:gd name="connsiteY274" fmla="*/ 1817414 h 6184462"/>
              <a:gd name="connsiteX275" fmla="*/ 328562 w 6191980"/>
              <a:gd name="connsiteY275" fmla="*/ 1777986 h 6184462"/>
              <a:gd name="connsiteX276" fmla="*/ 371744 w 6191980"/>
              <a:gd name="connsiteY276" fmla="*/ 1738560 h 6184462"/>
              <a:gd name="connsiteX277" fmla="*/ 416805 w 6191980"/>
              <a:gd name="connsiteY277" fmla="*/ 1702885 h 6184462"/>
              <a:gd name="connsiteX278" fmla="*/ 463742 w 6191980"/>
              <a:gd name="connsiteY278" fmla="*/ 1667213 h 6184462"/>
              <a:gd name="connsiteX279" fmla="*/ 510678 w 6191980"/>
              <a:gd name="connsiteY279" fmla="*/ 1631541 h 6184462"/>
              <a:gd name="connsiteX280" fmla="*/ 557617 w 6191980"/>
              <a:gd name="connsiteY280" fmla="*/ 1595869 h 6184462"/>
              <a:gd name="connsiteX281" fmla="*/ 600799 w 6191980"/>
              <a:gd name="connsiteY281" fmla="*/ 1558320 h 6184462"/>
              <a:gd name="connsiteX282" fmla="*/ 638351 w 6191980"/>
              <a:gd name="connsiteY282" fmla="*/ 1515138 h 6184462"/>
              <a:gd name="connsiteX283" fmla="*/ 672143 w 6191980"/>
              <a:gd name="connsiteY283" fmla="*/ 1473832 h 6184462"/>
              <a:gd name="connsiteX284" fmla="*/ 698428 w 6191980"/>
              <a:gd name="connsiteY284" fmla="*/ 1426896 h 6184462"/>
              <a:gd name="connsiteX285" fmla="*/ 720959 w 6191980"/>
              <a:gd name="connsiteY285" fmla="*/ 1376203 h 6184462"/>
              <a:gd name="connsiteX286" fmla="*/ 739734 w 6191980"/>
              <a:gd name="connsiteY286" fmla="*/ 1321755 h 6184462"/>
              <a:gd name="connsiteX287" fmla="*/ 756631 w 6191980"/>
              <a:gd name="connsiteY287" fmla="*/ 1265429 h 6184462"/>
              <a:gd name="connsiteX288" fmla="*/ 771652 w 6191980"/>
              <a:gd name="connsiteY288" fmla="*/ 1209105 h 6184462"/>
              <a:gd name="connsiteX289" fmla="*/ 786672 w 6191980"/>
              <a:gd name="connsiteY289" fmla="*/ 1150903 h 6184462"/>
              <a:gd name="connsiteX290" fmla="*/ 803570 w 6191980"/>
              <a:gd name="connsiteY290" fmla="*/ 1096456 h 6184462"/>
              <a:gd name="connsiteX291" fmla="*/ 822344 w 6191980"/>
              <a:gd name="connsiteY291" fmla="*/ 1042007 h 6184462"/>
              <a:gd name="connsiteX292" fmla="*/ 844875 w 6191980"/>
              <a:gd name="connsiteY292" fmla="*/ 991317 h 6184462"/>
              <a:gd name="connsiteX293" fmla="*/ 873037 w 6191980"/>
              <a:gd name="connsiteY293" fmla="*/ 946257 h 6184462"/>
              <a:gd name="connsiteX294" fmla="*/ 906830 w 6191980"/>
              <a:gd name="connsiteY294" fmla="*/ 904952 h 6184462"/>
              <a:gd name="connsiteX295" fmla="*/ 948135 w 6191980"/>
              <a:gd name="connsiteY295" fmla="*/ 871157 h 6184462"/>
              <a:gd name="connsiteX296" fmla="*/ 993197 w 6191980"/>
              <a:gd name="connsiteY296" fmla="*/ 842995 h 6184462"/>
              <a:gd name="connsiteX297" fmla="*/ 1043887 w 6191980"/>
              <a:gd name="connsiteY297" fmla="*/ 820464 h 6184462"/>
              <a:gd name="connsiteX298" fmla="*/ 1098336 w 6191980"/>
              <a:gd name="connsiteY298" fmla="*/ 801690 h 6184462"/>
              <a:gd name="connsiteX299" fmla="*/ 1152783 w 6191980"/>
              <a:gd name="connsiteY299" fmla="*/ 784792 h 6184462"/>
              <a:gd name="connsiteX300" fmla="*/ 1210986 w 6191980"/>
              <a:gd name="connsiteY300" fmla="*/ 769772 h 6184462"/>
              <a:gd name="connsiteX301" fmla="*/ 1267309 w 6191980"/>
              <a:gd name="connsiteY301" fmla="*/ 754751 h 6184462"/>
              <a:gd name="connsiteX302" fmla="*/ 1323635 w 6191980"/>
              <a:gd name="connsiteY302" fmla="*/ 737854 h 6184462"/>
              <a:gd name="connsiteX303" fmla="*/ 1378082 w 6191980"/>
              <a:gd name="connsiteY303" fmla="*/ 719079 h 6184462"/>
              <a:gd name="connsiteX304" fmla="*/ 1428774 w 6191980"/>
              <a:gd name="connsiteY304" fmla="*/ 696549 h 6184462"/>
              <a:gd name="connsiteX305" fmla="*/ 1475711 w 6191980"/>
              <a:gd name="connsiteY305" fmla="*/ 670266 h 6184462"/>
              <a:gd name="connsiteX306" fmla="*/ 1517016 w 6191980"/>
              <a:gd name="connsiteY306" fmla="*/ 636471 h 6184462"/>
              <a:gd name="connsiteX307" fmla="*/ 1560199 w 6191980"/>
              <a:gd name="connsiteY307" fmla="*/ 598919 h 6184462"/>
              <a:gd name="connsiteX308" fmla="*/ 1597750 w 6191980"/>
              <a:gd name="connsiteY308" fmla="*/ 555737 h 6184462"/>
              <a:gd name="connsiteX309" fmla="*/ 1633422 w 6191980"/>
              <a:gd name="connsiteY309" fmla="*/ 510678 h 6184462"/>
              <a:gd name="connsiteX310" fmla="*/ 1669094 w 6191980"/>
              <a:gd name="connsiteY310" fmla="*/ 463741 h 6184462"/>
              <a:gd name="connsiteX311" fmla="*/ 1704766 w 6191980"/>
              <a:gd name="connsiteY311" fmla="*/ 416803 h 6184462"/>
              <a:gd name="connsiteX312" fmla="*/ 1740438 w 6191980"/>
              <a:gd name="connsiteY312" fmla="*/ 371743 h 6184462"/>
              <a:gd name="connsiteX313" fmla="*/ 1779867 w 6191980"/>
              <a:gd name="connsiteY313" fmla="*/ 328561 h 6184462"/>
              <a:gd name="connsiteX314" fmla="*/ 1819293 w 6191980"/>
              <a:gd name="connsiteY314" fmla="*/ 291012 h 6184462"/>
              <a:gd name="connsiteX315" fmla="*/ 1864354 w 6191980"/>
              <a:gd name="connsiteY315" fmla="*/ 259094 h 6184462"/>
              <a:gd name="connsiteX316" fmla="*/ 1911291 w 6191980"/>
              <a:gd name="connsiteY316" fmla="*/ 234686 h 6184462"/>
              <a:gd name="connsiteX317" fmla="*/ 1967617 w 6191980"/>
              <a:gd name="connsiteY317" fmla="*/ 217789 h 6184462"/>
              <a:gd name="connsiteX318" fmla="*/ 2025819 w 6191980"/>
              <a:gd name="connsiteY318" fmla="*/ 210279 h 6184462"/>
              <a:gd name="connsiteX319" fmla="*/ 2085897 w 6191980"/>
              <a:gd name="connsiteY319" fmla="*/ 208401 h 6184462"/>
              <a:gd name="connsiteX320" fmla="*/ 2149731 w 6191980"/>
              <a:gd name="connsiteY320" fmla="*/ 214035 h 6184462"/>
              <a:gd name="connsiteX321" fmla="*/ 2213567 w 6191980"/>
              <a:gd name="connsiteY321" fmla="*/ 221545 h 6184462"/>
              <a:gd name="connsiteX322" fmla="*/ 2277403 w 6191980"/>
              <a:gd name="connsiteY322" fmla="*/ 230932 h 6184462"/>
              <a:gd name="connsiteX323" fmla="*/ 2341237 w 6191980"/>
              <a:gd name="connsiteY323" fmla="*/ 238443 h 6184462"/>
              <a:gd name="connsiteX324" fmla="*/ 2405071 w 6191980"/>
              <a:gd name="connsiteY324" fmla="*/ 242197 h 6184462"/>
              <a:gd name="connsiteX325" fmla="*/ 2467030 w 6191980"/>
              <a:gd name="connsiteY325" fmla="*/ 242197 h 6184462"/>
              <a:gd name="connsiteX326" fmla="*/ 2525233 w 6191980"/>
              <a:gd name="connsiteY326" fmla="*/ 234686 h 6184462"/>
              <a:gd name="connsiteX327" fmla="*/ 2583436 w 6191980"/>
              <a:gd name="connsiteY327" fmla="*/ 219666 h 6184462"/>
              <a:gd name="connsiteX328" fmla="*/ 2639760 w 6191980"/>
              <a:gd name="connsiteY328" fmla="*/ 197137 h 6184462"/>
              <a:gd name="connsiteX329" fmla="*/ 2696083 w 6191980"/>
              <a:gd name="connsiteY329" fmla="*/ 167096 h 6184462"/>
              <a:gd name="connsiteX330" fmla="*/ 2752409 w 6191980"/>
              <a:gd name="connsiteY330" fmla="*/ 137057 h 6184462"/>
              <a:gd name="connsiteX331" fmla="*/ 2808733 w 6191980"/>
              <a:gd name="connsiteY331" fmla="*/ 103262 h 6184462"/>
              <a:gd name="connsiteX332" fmla="*/ 2863182 w 6191980"/>
              <a:gd name="connsiteY332" fmla="*/ 71344 h 6184462"/>
              <a:gd name="connsiteX333" fmla="*/ 2921385 w 6191980"/>
              <a:gd name="connsiteY333" fmla="*/ 43182 h 6184462"/>
              <a:gd name="connsiteX334" fmla="*/ 2977708 w 6191980"/>
              <a:gd name="connsiteY334" fmla="*/ 20652 h 6184462"/>
              <a:gd name="connsiteX335" fmla="*/ 3035911 w 6191980"/>
              <a:gd name="connsiteY335" fmla="*/ 5631 h 618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6191980" h="6184462">
                <a:moveTo>
                  <a:pt x="3095991" y="0"/>
                </a:moveTo>
                <a:lnTo>
                  <a:pt x="3156069" y="5631"/>
                </a:lnTo>
                <a:lnTo>
                  <a:pt x="3214272" y="20652"/>
                </a:lnTo>
                <a:lnTo>
                  <a:pt x="3270598" y="43182"/>
                </a:lnTo>
                <a:lnTo>
                  <a:pt x="3328798" y="71344"/>
                </a:lnTo>
                <a:lnTo>
                  <a:pt x="3383247" y="103262"/>
                </a:lnTo>
                <a:lnTo>
                  <a:pt x="3439573" y="137057"/>
                </a:lnTo>
                <a:lnTo>
                  <a:pt x="3495897" y="167096"/>
                </a:lnTo>
                <a:lnTo>
                  <a:pt x="3552221" y="197137"/>
                </a:lnTo>
                <a:lnTo>
                  <a:pt x="3606669" y="219666"/>
                </a:lnTo>
                <a:lnTo>
                  <a:pt x="3666749" y="234686"/>
                </a:lnTo>
                <a:lnTo>
                  <a:pt x="3724950" y="242197"/>
                </a:lnTo>
                <a:lnTo>
                  <a:pt x="3786907" y="242197"/>
                </a:lnTo>
                <a:lnTo>
                  <a:pt x="3850743" y="238443"/>
                </a:lnTo>
                <a:lnTo>
                  <a:pt x="3914577" y="230932"/>
                </a:lnTo>
                <a:lnTo>
                  <a:pt x="3978413" y="221545"/>
                </a:lnTo>
                <a:lnTo>
                  <a:pt x="4042247" y="214035"/>
                </a:lnTo>
                <a:lnTo>
                  <a:pt x="4106083" y="208401"/>
                </a:lnTo>
                <a:lnTo>
                  <a:pt x="4166161" y="210279"/>
                </a:lnTo>
                <a:lnTo>
                  <a:pt x="4224364" y="217789"/>
                </a:lnTo>
                <a:lnTo>
                  <a:pt x="4280690" y="234686"/>
                </a:lnTo>
                <a:lnTo>
                  <a:pt x="4327628" y="259094"/>
                </a:lnTo>
                <a:lnTo>
                  <a:pt x="4372686" y="291012"/>
                </a:lnTo>
                <a:lnTo>
                  <a:pt x="4412114" y="328561"/>
                </a:lnTo>
                <a:lnTo>
                  <a:pt x="4451542" y="371743"/>
                </a:lnTo>
                <a:lnTo>
                  <a:pt x="4487214" y="416803"/>
                </a:lnTo>
                <a:lnTo>
                  <a:pt x="4522886" y="463741"/>
                </a:lnTo>
                <a:lnTo>
                  <a:pt x="4558559" y="510678"/>
                </a:lnTo>
                <a:lnTo>
                  <a:pt x="4594231" y="555737"/>
                </a:lnTo>
                <a:lnTo>
                  <a:pt x="4631782" y="598919"/>
                </a:lnTo>
                <a:lnTo>
                  <a:pt x="4674964" y="636471"/>
                </a:lnTo>
                <a:lnTo>
                  <a:pt x="4716270" y="670266"/>
                </a:lnTo>
                <a:lnTo>
                  <a:pt x="4763206" y="696549"/>
                </a:lnTo>
                <a:lnTo>
                  <a:pt x="4813899" y="719079"/>
                </a:lnTo>
                <a:lnTo>
                  <a:pt x="4868345" y="737854"/>
                </a:lnTo>
                <a:lnTo>
                  <a:pt x="4924669" y="754751"/>
                </a:lnTo>
                <a:lnTo>
                  <a:pt x="4980995" y="769772"/>
                </a:lnTo>
                <a:lnTo>
                  <a:pt x="5039198" y="784792"/>
                </a:lnTo>
                <a:lnTo>
                  <a:pt x="5093644" y="801690"/>
                </a:lnTo>
                <a:lnTo>
                  <a:pt x="5148091" y="820464"/>
                </a:lnTo>
                <a:lnTo>
                  <a:pt x="5198784" y="842995"/>
                </a:lnTo>
                <a:lnTo>
                  <a:pt x="5243845" y="871157"/>
                </a:lnTo>
                <a:lnTo>
                  <a:pt x="5285151" y="904952"/>
                </a:lnTo>
                <a:lnTo>
                  <a:pt x="5318944" y="946257"/>
                </a:lnTo>
                <a:lnTo>
                  <a:pt x="5347108" y="991317"/>
                </a:lnTo>
                <a:lnTo>
                  <a:pt x="5369636" y="1042007"/>
                </a:lnTo>
                <a:lnTo>
                  <a:pt x="5388410" y="1096456"/>
                </a:lnTo>
                <a:lnTo>
                  <a:pt x="5405308" y="1150903"/>
                </a:lnTo>
                <a:lnTo>
                  <a:pt x="5420328" y="1209105"/>
                </a:lnTo>
                <a:lnTo>
                  <a:pt x="5435349" y="1265429"/>
                </a:lnTo>
                <a:lnTo>
                  <a:pt x="5452246" y="1321755"/>
                </a:lnTo>
                <a:lnTo>
                  <a:pt x="5471021" y="1376203"/>
                </a:lnTo>
                <a:lnTo>
                  <a:pt x="5493550" y="1426896"/>
                </a:lnTo>
                <a:lnTo>
                  <a:pt x="5519836" y="1473832"/>
                </a:lnTo>
                <a:lnTo>
                  <a:pt x="5553632" y="1515138"/>
                </a:lnTo>
                <a:lnTo>
                  <a:pt x="5591181" y="1558320"/>
                </a:lnTo>
                <a:lnTo>
                  <a:pt x="5634364" y="1595869"/>
                </a:lnTo>
                <a:lnTo>
                  <a:pt x="5679425" y="1631541"/>
                </a:lnTo>
                <a:lnTo>
                  <a:pt x="5728238" y="1667213"/>
                </a:lnTo>
                <a:lnTo>
                  <a:pt x="5775175" y="1702885"/>
                </a:lnTo>
                <a:lnTo>
                  <a:pt x="5820236" y="1738560"/>
                </a:lnTo>
                <a:lnTo>
                  <a:pt x="5863416" y="1777986"/>
                </a:lnTo>
                <a:lnTo>
                  <a:pt x="5900968" y="1817414"/>
                </a:lnTo>
                <a:lnTo>
                  <a:pt x="5932886" y="1862474"/>
                </a:lnTo>
                <a:lnTo>
                  <a:pt x="5957294" y="1909410"/>
                </a:lnTo>
                <a:lnTo>
                  <a:pt x="5974191" y="1965736"/>
                </a:lnTo>
                <a:lnTo>
                  <a:pt x="5981700" y="2023938"/>
                </a:lnTo>
                <a:lnTo>
                  <a:pt x="5983578" y="2084018"/>
                </a:lnTo>
                <a:lnTo>
                  <a:pt x="5977945" y="2147852"/>
                </a:lnTo>
                <a:lnTo>
                  <a:pt x="5970435" y="2211686"/>
                </a:lnTo>
                <a:lnTo>
                  <a:pt x="5961048" y="2275522"/>
                </a:lnTo>
                <a:lnTo>
                  <a:pt x="5953538" y="2339356"/>
                </a:lnTo>
                <a:lnTo>
                  <a:pt x="5949784" y="2403192"/>
                </a:lnTo>
                <a:lnTo>
                  <a:pt x="5949784" y="2465149"/>
                </a:lnTo>
                <a:lnTo>
                  <a:pt x="5957294" y="2523350"/>
                </a:lnTo>
                <a:lnTo>
                  <a:pt x="5972312" y="2581552"/>
                </a:lnTo>
                <a:lnTo>
                  <a:pt x="5994843" y="2636001"/>
                </a:lnTo>
                <a:lnTo>
                  <a:pt x="6024884" y="2692325"/>
                </a:lnTo>
                <a:lnTo>
                  <a:pt x="6054922" y="2748651"/>
                </a:lnTo>
                <a:lnTo>
                  <a:pt x="6088718" y="2804974"/>
                </a:lnTo>
                <a:lnTo>
                  <a:pt x="6120634" y="2859423"/>
                </a:lnTo>
                <a:lnTo>
                  <a:pt x="6148798" y="2917624"/>
                </a:lnTo>
                <a:lnTo>
                  <a:pt x="6171326" y="2973950"/>
                </a:lnTo>
                <a:lnTo>
                  <a:pt x="6186347" y="3032152"/>
                </a:lnTo>
                <a:lnTo>
                  <a:pt x="6191980" y="3092230"/>
                </a:lnTo>
                <a:lnTo>
                  <a:pt x="6186347" y="3152310"/>
                </a:lnTo>
                <a:lnTo>
                  <a:pt x="6171326" y="3210513"/>
                </a:lnTo>
                <a:lnTo>
                  <a:pt x="6148798" y="3266839"/>
                </a:lnTo>
                <a:lnTo>
                  <a:pt x="6120634" y="3325039"/>
                </a:lnTo>
                <a:lnTo>
                  <a:pt x="6088718" y="3379488"/>
                </a:lnTo>
                <a:lnTo>
                  <a:pt x="6054922" y="3435814"/>
                </a:lnTo>
                <a:lnTo>
                  <a:pt x="6024884" y="3492137"/>
                </a:lnTo>
                <a:lnTo>
                  <a:pt x="5994843" y="3548461"/>
                </a:lnTo>
                <a:lnTo>
                  <a:pt x="5972312" y="3602910"/>
                </a:lnTo>
                <a:lnTo>
                  <a:pt x="5957294" y="3661113"/>
                </a:lnTo>
                <a:lnTo>
                  <a:pt x="5949784" y="3719313"/>
                </a:lnTo>
                <a:lnTo>
                  <a:pt x="5949784" y="3781272"/>
                </a:lnTo>
                <a:lnTo>
                  <a:pt x="5953538" y="3845106"/>
                </a:lnTo>
                <a:lnTo>
                  <a:pt x="5961048" y="3908940"/>
                </a:lnTo>
                <a:lnTo>
                  <a:pt x="5970435" y="3972776"/>
                </a:lnTo>
                <a:lnTo>
                  <a:pt x="5977945" y="4036610"/>
                </a:lnTo>
                <a:lnTo>
                  <a:pt x="5983578" y="4100444"/>
                </a:lnTo>
                <a:lnTo>
                  <a:pt x="5981700" y="4160526"/>
                </a:lnTo>
                <a:lnTo>
                  <a:pt x="5974191" y="4218729"/>
                </a:lnTo>
                <a:lnTo>
                  <a:pt x="5957294" y="4275053"/>
                </a:lnTo>
                <a:lnTo>
                  <a:pt x="5932886" y="4321989"/>
                </a:lnTo>
                <a:lnTo>
                  <a:pt x="5900968" y="4367050"/>
                </a:lnTo>
                <a:lnTo>
                  <a:pt x="5863416" y="4406477"/>
                </a:lnTo>
                <a:lnTo>
                  <a:pt x="5820236" y="4445903"/>
                </a:lnTo>
                <a:lnTo>
                  <a:pt x="5775175" y="4481577"/>
                </a:lnTo>
                <a:lnTo>
                  <a:pt x="5728238" y="4517249"/>
                </a:lnTo>
                <a:lnTo>
                  <a:pt x="5679425" y="4552921"/>
                </a:lnTo>
                <a:lnTo>
                  <a:pt x="5634364" y="4588593"/>
                </a:lnTo>
                <a:lnTo>
                  <a:pt x="5591181" y="4626142"/>
                </a:lnTo>
                <a:lnTo>
                  <a:pt x="5553632" y="4669325"/>
                </a:lnTo>
                <a:lnTo>
                  <a:pt x="5519836" y="4710630"/>
                </a:lnTo>
                <a:lnTo>
                  <a:pt x="5493550" y="4757566"/>
                </a:lnTo>
                <a:lnTo>
                  <a:pt x="5471021" y="4808259"/>
                </a:lnTo>
                <a:lnTo>
                  <a:pt x="5452246" y="4862708"/>
                </a:lnTo>
                <a:lnTo>
                  <a:pt x="5435349" y="4919033"/>
                </a:lnTo>
                <a:lnTo>
                  <a:pt x="5420328" y="4975357"/>
                </a:lnTo>
                <a:lnTo>
                  <a:pt x="5405308" y="5033560"/>
                </a:lnTo>
                <a:lnTo>
                  <a:pt x="5388410" y="5088007"/>
                </a:lnTo>
                <a:lnTo>
                  <a:pt x="5369636" y="5142453"/>
                </a:lnTo>
                <a:lnTo>
                  <a:pt x="5347108" y="5193146"/>
                </a:lnTo>
                <a:lnTo>
                  <a:pt x="5318944" y="5238207"/>
                </a:lnTo>
                <a:lnTo>
                  <a:pt x="5285151" y="5279510"/>
                </a:lnTo>
                <a:lnTo>
                  <a:pt x="5243845" y="5313305"/>
                </a:lnTo>
                <a:lnTo>
                  <a:pt x="5198784" y="5341467"/>
                </a:lnTo>
                <a:lnTo>
                  <a:pt x="5148091" y="5363998"/>
                </a:lnTo>
                <a:lnTo>
                  <a:pt x="5093644" y="5382773"/>
                </a:lnTo>
                <a:lnTo>
                  <a:pt x="5039198" y="5399670"/>
                </a:lnTo>
                <a:lnTo>
                  <a:pt x="4980995" y="5414691"/>
                </a:lnTo>
                <a:lnTo>
                  <a:pt x="4924669" y="5429711"/>
                </a:lnTo>
                <a:lnTo>
                  <a:pt x="4868345" y="5446609"/>
                </a:lnTo>
                <a:lnTo>
                  <a:pt x="4813899" y="5465383"/>
                </a:lnTo>
                <a:lnTo>
                  <a:pt x="4763206" y="5487914"/>
                </a:lnTo>
                <a:lnTo>
                  <a:pt x="4716270" y="5514197"/>
                </a:lnTo>
                <a:lnTo>
                  <a:pt x="4674964" y="5547992"/>
                </a:lnTo>
                <a:lnTo>
                  <a:pt x="4631782" y="5585543"/>
                </a:lnTo>
                <a:lnTo>
                  <a:pt x="4594231" y="5628725"/>
                </a:lnTo>
                <a:lnTo>
                  <a:pt x="4558559" y="5673785"/>
                </a:lnTo>
                <a:lnTo>
                  <a:pt x="4522886" y="5720721"/>
                </a:lnTo>
                <a:lnTo>
                  <a:pt x="4487214" y="5767659"/>
                </a:lnTo>
                <a:lnTo>
                  <a:pt x="4451542" y="5812719"/>
                </a:lnTo>
                <a:lnTo>
                  <a:pt x="4412114" y="5855901"/>
                </a:lnTo>
                <a:lnTo>
                  <a:pt x="4372686" y="5893450"/>
                </a:lnTo>
                <a:lnTo>
                  <a:pt x="4327628" y="5925368"/>
                </a:lnTo>
                <a:lnTo>
                  <a:pt x="4280690" y="5949776"/>
                </a:lnTo>
                <a:lnTo>
                  <a:pt x="4224364" y="5966674"/>
                </a:lnTo>
                <a:lnTo>
                  <a:pt x="4166161" y="5974184"/>
                </a:lnTo>
                <a:lnTo>
                  <a:pt x="4106083" y="5976061"/>
                </a:lnTo>
                <a:lnTo>
                  <a:pt x="4042247" y="5970428"/>
                </a:lnTo>
                <a:lnTo>
                  <a:pt x="3978413" y="5962919"/>
                </a:lnTo>
                <a:lnTo>
                  <a:pt x="3914577" y="5953530"/>
                </a:lnTo>
                <a:lnTo>
                  <a:pt x="3850743" y="5946022"/>
                </a:lnTo>
                <a:lnTo>
                  <a:pt x="3786907" y="5942266"/>
                </a:lnTo>
                <a:lnTo>
                  <a:pt x="3724950" y="5942266"/>
                </a:lnTo>
                <a:lnTo>
                  <a:pt x="3666749" y="5949776"/>
                </a:lnTo>
                <a:lnTo>
                  <a:pt x="3606669" y="5964797"/>
                </a:lnTo>
                <a:lnTo>
                  <a:pt x="3552221" y="5987325"/>
                </a:lnTo>
                <a:lnTo>
                  <a:pt x="3495897" y="6017366"/>
                </a:lnTo>
                <a:lnTo>
                  <a:pt x="3439573" y="6047407"/>
                </a:lnTo>
                <a:lnTo>
                  <a:pt x="3383247" y="6081200"/>
                </a:lnTo>
                <a:lnTo>
                  <a:pt x="3328798" y="6113118"/>
                </a:lnTo>
                <a:lnTo>
                  <a:pt x="3270598" y="6141280"/>
                </a:lnTo>
                <a:lnTo>
                  <a:pt x="3214272" y="6163811"/>
                </a:lnTo>
                <a:lnTo>
                  <a:pt x="3156069" y="6178831"/>
                </a:lnTo>
                <a:lnTo>
                  <a:pt x="3095991" y="6184462"/>
                </a:lnTo>
                <a:lnTo>
                  <a:pt x="3035911" y="6178831"/>
                </a:lnTo>
                <a:lnTo>
                  <a:pt x="2977708" y="6163811"/>
                </a:lnTo>
                <a:lnTo>
                  <a:pt x="2921385" y="6141280"/>
                </a:lnTo>
                <a:lnTo>
                  <a:pt x="2863182" y="6113118"/>
                </a:lnTo>
                <a:lnTo>
                  <a:pt x="2808733" y="6081200"/>
                </a:lnTo>
                <a:lnTo>
                  <a:pt x="2752409" y="6047407"/>
                </a:lnTo>
                <a:lnTo>
                  <a:pt x="2696083" y="6017366"/>
                </a:lnTo>
                <a:lnTo>
                  <a:pt x="2639760" y="5987325"/>
                </a:lnTo>
                <a:lnTo>
                  <a:pt x="2583436" y="5964797"/>
                </a:lnTo>
                <a:lnTo>
                  <a:pt x="2525233" y="5949776"/>
                </a:lnTo>
                <a:lnTo>
                  <a:pt x="2467030" y="5942266"/>
                </a:lnTo>
                <a:lnTo>
                  <a:pt x="2405071" y="5942266"/>
                </a:lnTo>
                <a:lnTo>
                  <a:pt x="2341237" y="5946022"/>
                </a:lnTo>
                <a:lnTo>
                  <a:pt x="2277403" y="5953530"/>
                </a:lnTo>
                <a:lnTo>
                  <a:pt x="2213567" y="5962919"/>
                </a:lnTo>
                <a:lnTo>
                  <a:pt x="2149731" y="5970428"/>
                </a:lnTo>
                <a:lnTo>
                  <a:pt x="2085897" y="5976061"/>
                </a:lnTo>
                <a:lnTo>
                  <a:pt x="2025819" y="5974184"/>
                </a:lnTo>
                <a:lnTo>
                  <a:pt x="1967617" y="5966674"/>
                </a:lnTo>
                <a:lnTo>
                  <a:pt x="1911291" y="5949776"/>
                </a:lnTo>
                <a:lnTo>
                  <a:pt x="1864354" y="5925368"/>
                </a:lnTo>
                <a:lnTo>
                  <a:pt x="1819293" y="5893450"/>
                </a:lnTo>
                <a:lnTo>
                  <a:pt x="1779867" y="5855901"/>
                </a:lnTo>
                <a:lnTo>
                  <a:pt x="1740438" y="5812719"/>
                </a:lnTo>
                <a:lnTo>
                  <a:pt x="1704766" y="5767659"/>
                </a:lnTo>
                <a:lnTo>
                  <a:pt x="1669094" y="5720721"/>
                </a:lnTo>
                <a:lnTo>
                  <a:pt x="1633422" y="5673785"/>
                </a:lnTo>
                <a:lnTo>
                  <a:pt x="1597750" y="5628725"/>
                </a:lnTo>
                <a:lnTo>
                  <a:pt x="1560199" y="5585543"/>
                </a:lnTo>
                <a:lnTo>
                  <a:pt x="1517016" y="5547992"/>
                </a:lnTo>
                <a:lnTo>
                  <a:pt x="1475711" y="5514197"/>
                </a:lnTo>
                <a:lnTo>
                  <a:pt x="1428774" y="5487914"/>
                </a:lnTo>
                <a:lnTo>
                  <a:pt x="1378082" y="5465383"/>
                </a:lnTo>
                <a:lnTo>
                  <a:pt x="1323635" y="5446609"/>
                </a:lnTo>
                <a:lnTo>
                  <a:pt x="1267309" y="5429711"/>
                </a:lnTo>
                <a:lnTo>
                  <a:pt x="1210986" y="5414691"/>
                </a:lnTo>
                <a:lnTo>
                  <a:pt x="1152783" y="5399670"/>
                </a:lnTo>
                <a:lnTo>
                  <a:pt x="1098336" y="5382773"/>
                </a:lnTo>
                <a:lnTo>
                  <a:pt x="1043887" y="5363998"/>
                </a:lnTo>
                <a:lnTo>
                  <a:pt x="993197" y="5341467"/>
                </a:lnTo>
                <a:lnTo>
                  <a:pt x="948135" y="5313305"/>
                </a:lnTo>
                <a:lnTo>
                  <a:pt x="906830" y="5279510"/>
                </a:lnTo>
                <a:lnTo>
                  <a:pt x="873037" y="5238207"/>
                </a:lnTo>
                <a:lnTo>
                  <a:pt x="844875" y="5193146"/>
                </a:lnTo>
                <a:lnTo>
                  <a:pt x="822344" y="5142453"/>
                </a:lnTo>
                <a:lnTo>
                  <a:pt x="803570" y="5088007"/>
                </a:lnTo>
                <a:lnTo>
                  <a:pt x="786672" y="5033560"/>
                </a:lnTo>
                <a:lnTo>
                  <a:pt x="771652" y="4975357"/>
                </a:lnTo>
                <a:lnTo>
                  <a:pt x="756631" y="4919033"/>
                </a:lnTo>
                <a:lnTo>
                  <a:pt x="739734" y="4862708"/>
                </a:lnTo>
                <a:lnTo>
                  <a:pt x="720959" y="4808259"/>
                </a:lnTo>
                <a:lnTo>
                  <a:pt x="698428" y="4757566"/>
                </a:lnTo>
                <a:lnTo>
                  <a:pt x="672143" y="4710630"/>
                </a:lnTo>
                <a:lnTo>
                  <a:pt x="638351" y="4669325"/>
                </a:lnTo>
                <a:lnTo>
                  <a:pt x="600799" y="4626142"/>
                </a:lnTo>
                <a:lnTo>
                  <a:pt x="557617" y="4588593"/>
                </a:lnTo>
                <a:lnTo>
                  <a:pt x="510678" y="4552921"/>
                </a:lnTo>
                <a:lnTo>
                  <a:pt x="463742" y="4517249"/>
                </a:lnTo>
                <a:lnTo>
                  <a:pt x="416805" y="4481577"/>
                </a:lnTo>
                <a:lnTo>
                  <a:pt x="371744" y="4445903"/>
                </a:lnTo>
                <a:lnTo>
                  <a:pt x="328562" y="4406477"/>
                </a:lnTo>
                <a:lnTo>
                  <a:pt x="291012" y="4367050"/>
                </a:lnTo>
                <a:lnTo>
                  <a:pt x="259096" y="4321989"/>
                </a:lnTo>
                <a:lnTo>
                  <a:pt x="234689" y="4275053"/>
                </a:lnTo>
                <a:lnTo>
                  <a:pt x="217791" y="4218729"/>
                </a:lnTo>
                <a:lnTo>
                  <a:pt x="210281" y="4160526"/>
                </a:lnTo>
                <a:lnTo>
                  <a:pt x="208402" y="4100444"/>
                </a:lnTo>
                <a:lnTo>
                  <a:pt x="214035" y="4036610"/>
                </a:lnTo>
                <a:lnTo>
                  <a:pt x="221545" y="3972776"/>
                </a:lnTo>
                <a:lnTo>
                  <a:pt x="230932" y="3908940"/>
                </a:lnTo>
                <a:lnTo>
                  <a:pt x="238443" y="3845106"/>
                </a:lnTo>
                <a:lnTo>
                  <a:pt x="242199" y="3781272"/>
                </a:lnTo>
                <a:lnTo>
                  <a:pt x="242199" y="3719313"/>
                </a:lnTo>
                <a:lnTo>
                  <a:pt x="234689" y="3661113"/>
                </a:lnTo>
                <a:lnTo>
                  <a:pt x="219668" y="3602910"/>
                </a:lnTo>
                <a:lnTo>
                  <a:pt x="197138" y="3548461"/>
                </a:lnTo>
                <a:lnTo>
                  <a:pt x="168976" y="3492137"/>
                </a:lnTo>
                <a:lnTo>
                  <a:pt x="137057" y="3435814"/>
                </a:lnTo>
                <a:lnTo>
                  <a:pt x="103264" y="3379488"/>
                </a:lnTo>
                <a:lnTo>
                  <a:pt x="71346" y="3325039"/>
                </a:lnTo>
                <a:lnTo>
                  <a:pt x="43182" y="3266839"/>
                </a:lnTo>
                <a:lnTo>
                  <a:pt x="20654" y="3210513"/>
                </a:lnTo>
                <a:lnTo>
                  <a:pt x="5634" y="3152310"/>
                </a:lnTo>
                <a:lnTo>
                  <a:pt x="0" y="3092230"/>
                </a:lnTo>
                <a:lnTo>
                  <a:pt x="5634" y="3032152"/>
                </a:lnTo>
                <a:lnTo>
                  <a:pt x="20654" y="2973950"/>
                </a:lnTo>
                <a:lnTo>
                  <a:pt x="43182" y="2917624"/>
                </a:lnTo>
                <a:lnTo>
                  <a:pt x="71346" y="2859423"/>
                </a:lnTo>
                <a:lnTo>
                  <a:pt x="103264" y="2804974"/>
                </a:lnTo>
                <a:lnTo>
                  <a:pt x="137057" y="2748651"/>
                </a:lnTo>
                <a:lnTo>
                  <a:pt x="168976" y="2692325"/>
                </a:lnTo>
                <a:lnTo>
                  <a:pt x="197138" y="2636001"/>
                </a:lnTo>
                <a:lnTo>
                  <a:pt x="219668" y="2581552"/>
                </a:lnTo>
                <a:lnTo>
                  <a:pt x="234689" y="2523350"/>
                </a:lnTo>
                <a:lnTo>
                  <a:pt x="242199" y="2465149"/>
                </a:lnTo>
                <a:lnTo>
                  <a:pt x="242199" y="2403192"/>
                </a:lnTo>
                <a:lnTo>
                  <a:pt x="238443" y="2339356"/>
                </a:lnTo>
                <a:lnTo>
                  <a:pt x="230932" y="2275522"/>
                </a:lnTo>
                <a:lnTo>
                  <a:pt x="221545" y="2211686"/>
                </a:lnTo>
                <a:lnTo>
                  <a:pt x="214035" y="2147852"/>
                </a:lnTo>
                <a:lnTo>
                  <a:pt x="208402" y="2084018"/>
                </a:lnTo>
                <a:lnTo>
                  <a:pt x="210281" y="2023938"/>
                </a:lnTo>
                <a:lnTo>
                  <a:pt x="217791" y="1965736"/>
                </a:lnTo>
                <a:lnTo>
                  <a:pt x="234689" y="1909410"/>
                </a:lnTo>
                <a:lnTo>
                  <a:pt x="259096" y="1862474"/>
                </a:lnTo>
                <a:lnTo>
                  <a:pt x="291012" y="1817414"/>
                </a:lnTo>
                <a:lnTo>
                  <a:pt x="328562" y="1777986"/>
                </a:lnTo>
                <a:lnTo>
                  <a:pt x="371744" y="1738560"/>
                </a:lnTo>
                <a:lnTo>
                  <a:pt x="416805" y="1702885"/>
                </a:lnTo>
                <a:lnTo>
                  <a:pt x="463742" y="1667213"/>
                </a:lnTo>
                <a:lnTo>
                  <a:pt x="510678" y="1631541"/>
                </a:lnTo>
                <a:lnTo>
                  <a:pt x="557617" y="1595869"/>
                </a:lnTo>
                <a:lnTo>
                  <a:pt x="600799" y="1558320"/>
                </a:lnTo>
                <a:lnTo>
                  <a:pt x="638351" y="1515138"/>
                </a:lnTo>
                <a:lnTo>
                  <a:pt x="672143" y="1473832"/>
                </a:lnTo>
                <a:lnTo>
                  <a:pt x="698428" y="1426896"/>
                </a:lnTo>
                <a:lnTo>
                  <a:pt x="720959" y="1376203"/>
                </a:lnTo>
                <a:lnTo>
                  <a:pt x="739734" y="1321755"/>
                </a:lnTo>
                <a:lnTo>
                  <a:pt x="756631" y="1265429"/>
                </a:lnTo>
                <a:lnTo>
                  <a:pt x="771652" y="1209105"/>
                </a:lnTo>
                <a:lnTo>
                  <a:pt x="786672" y="1150903"/>
                </a:lnTo>
                <a:lnTo>
                  <a:pt x="803570" y="1096456"/>
                </a:lnTo>
                <a:lnTo>
                  <a:pt x="822344" y="1042007"/>
                </a:lnTo>
                <a:lnTo>
                  <a:pt x="844875" y="991317"/>
                </a:lnTo>
                <a:lnTo>
                  <a:pt x="873037" y="946257"/>
                </a:lnTo>
                <a:lnTo>
                  <a:pt x="906830" y="904952"/>
                </a:lnTo>
                <a:lnTo>
                  <a:pt x="948135" y="871157"/>
                </a:lnTo>
                <a:lnTo>
                  <a:pt x="993197" y="842995"/>
                </a:lnTo>
                <a:lnTo>
                  <a:pt x="1043887" y="820464"/>
                </a:lnTo>
                <a:lnTo>
                  <a:pt x="1098336" y="801690"/>
                </a:lnTo>
                <a:lnTo>
                  <a:pt x="1152783" y="784792"/>
                </a:lnTo>
                <a:lnTo>
                  <a:pt x="1210986" y="769772"/>
                </a:lnTo>
                <a:lnTo>
                  <a:pt x="1267309" y="754751"/>
                </a:lnTo>
                <a:lnTo>
                  <a:pt x="1323635" y="737854"/>
                </a:lnTo>
                <a:lnTo>
                  <a:pt x="1378082" y="719079"/>
                </a:lnTo>
                <a:lnTo>
                  <a:pt x="1428774" y="696549"/>
                </a:lnTo>
                <a:lnTo>
                  <a:pt x="1475711" y="670266"/>
                </a:lnTo>
                <a:lnTo>
                  <a:pt x="1517016" y="636471"/>
                </a:lnTo>
                <a:lnTo>
                  <a:pt x="1560199" y="598919"/>
                </a:lnTo>
                <a:lnTo>
                  <a:pt x="1597750" y="555737"/>
                </a:lnTo>
                <a:lnTo>
                  <a:pt x="1633422" y="510678"/>
                </a:lnTo>
                <a:lnTo>
                  <a:pt x="1669094" y="463741"/>
                </a:lnTo>
                <a:lnTo>
                  <a:pt x="1704766" y="416803"/>
                </a:lnTo>
                <a:lnTo>
                  <a:pt x="1740438" y="371743"/>
                </a:lnTo>
                <a:lnTo>
                  <a:pt x="1779867" y="328561"/>
                </a:lnTo>
                <a:lnTo>
                  <a:pt x="1819293" y="291012"/>
                </a:lnTo>
                <a:lnTo>
                  <a:pt x="1864354" y="259094"/>
                </a:lnTo>
                <a:lnTo>
                  <a:pt x="1911291" y="234686"/>
                </a:lnTo>
                <a:lnTo>
                  <a:pt x="1967617" y="217789"/>
                </a:lnTo>
                <a:lnTo>
                  <a:pt x="2025819" y="210279"/>
                </a:lnTo>
                <a:lnTo>
                  <a:pt x="2085897" y="208401"/>
                </a:lnTo>
                <a:lnTo>
                  <a:pt x="2149731" y="214035"/>
                </a:lnTo>
                <a:lnTo>
                  <a:pt x="2213567" y="221545"/>
                </a:lnTo>
                <a:lnTo>
                  <a:pt x="2277403" y="230932"/>
                </a:lnTo>
                <a:lnTo>
                  <a:pt x="2341237" y="238443"/>
                </a:lnTo>
                <a:lnTo>
                  <a:pt x="2405071" y="242197"/>
                </a:lnTo>
                <a:lnTo>
                  <a:pt x="2467030" y="242197"/>
                </a:lnTo>
                <a:lnTo>
                  <a:pt x="2525233" y="234686"/>
                </a:lnTo>
                <a:lnTo>
                  <a:pt x="2583436" y="219666"/>
                </a:lnTo>
                <a:lnTo>
                  <a:pt x="2639760" y="197137"/>
                </a:lnTo>
                <a:lnTo>
                  <a:pt x="2696083" y="167096"/>
                </a:lnTo>
                <a:lnTo>
                  <a:pt x="2752409" y="137057"/>
                </a:lnTo>
                <a:lnTo>
                  <a:pt x="2808733" y="103262"/>
                </a:lnTo>
                <a:lnTo>
                  <a:pt x="2863182" y="71344"/>
                </a:lnTo>
                <a:lnTo>
                  <a:pt x="2921385" y="43182"/>
                </a:lnTo>
                <a:lnTo>
                  <a:pt x="2977708" y="20652"/>
                </a:lnTo>
                <a:lnTo>
                  <a:pt x="3035911" y="5631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41" name="Freeform: Shape 82">
            <a:extLst>
              <a:ext uri="{FF2B5EF4-FFF2-40B4-BE49-F238E27FC236}">
                <a16:creationId xmlns:a16="http://schemas.microsoft.com/office/drawing/2014/main" id="{DCB00779-0822-4229-98D1-F34B6A6350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48726" y="2679700"/>
            <a:ext cx="3071638" cy="3067942"/>
          </a:xfrm>
          <a:custGeom>
            <a:avLst/>
            <a:gdLst>
              <a:gd name="connsiteX0" fmla="*/ 1418354 w 2836707"/>
              <a:gd name="connsiteY0" fmla="*/ 0 h 2833294"/>
              <a:gd name="connsiteX1" fmla="*/ 1445877 w 2836707"/>
              <a:gd name="connsiteY1" fmla="*/ 2580 h 2833294"/>
              <a:gd name="connsiteX2" fmla="*/ 1472542 w 2836707"/>
              <a:gd name="connsiteY2" fmla="*/ 9461 h 2833294"/>
              <a:gd name="connsiteX3" fmla="*/ 1498346 w 2836707"/>
              <a:gd name="connsiteY3" fmla="*/ 19783 h 2833294"/>
              <a:gd name="connsiteX4" fmla="*/ 1525009 w 2836707"/>
              <a:gd name="connsiteY4" fmla="*/ 32685 h 2833294"/>
              <a:gd name="connsiteX5" fmla="*/ 1549954 w 2836707"/>
              <a:gd name="connsiteY5" fmla="*/ 47308 h 2833294"/>
              <a:gd name="connsiteX6" fmla="*/ 1575758 w 2836707"/>
              <a:gd name="connsiteY6" fmla="*/ 62790 h 2833294"/>
              <a:gd name="connsiteX7" fmla="*/ 1601561 w 2836707"/>
              <a:gd name="connsiteY7" fmla="*/ 76552 h 2833294"/>
              <a:gd name="connsiteX8" fmla="*/ 1627365 w 2836707"/>
              <a:gd name="connsiteY8" fmla="*/ 90315 h 2833294"/>
              <a:gd name="connsiteX9" fmla="*/ 1652309 w 2836707"/>
              <a:gd name="connsiteY9" fmla="*/ 100636 h 2833294"/>
              <a:gd name="connsiteX10" fmla="*/ 1679833 w 2836707"/>
              <a:gd name="connsiteY10" fmla="*/ 107517 h 2833294"/>
              <a:gd name="connsiteX11" fmla="*/ 1706497 w 2836707"/>
              <a:gd name="connsiteY11" fmla="*/ 110958 h 2833294"/>
              <a:gd name="connsiteX12" fmla="*/ 1734881 w 2836707"/>
              <a:gd name="connsiteY12" fmla="*/ 110958 h 2833294"/>
              <a:gd name="connsiteX13" fmla="*/ 1764126 w 2836707"/>
              <a:gd name="connsiteY13" fmla="*/ 109238 h 2833294"/>
              <a:gd name="connsiteX14" fmla="*/ 1793370 w 2836707"/>
              <a:gd name="connsiteY14" fmla="*/ 105797 h 2833294"/>
              <a:gd name="connsiteX15" fmla="*/ 1822615 w 2836707"/>
              <a:gd name="connsiteY15" fmla="*/ 101497 h 2833294"/>
              <a:gd name="connsiteX16" fmla="*/ 1851859 w 2836707"/>
              <a:gd name="connsiteY16" fmla="*/ 98056 h 2833294"/>
              <a:gd name="connsiteX17" fmla="*/ 1881104 w 2836707"/>
              <a:gd name="connsiteY17" fmla="*/ 95475 h 2833294"/>
              <a:gd name="connsiteX18" fmla="*/ 1908627 w 2836707"/>
              <a:gd name="connsiteY18" fmla="*/ 96335 h 2833294"/>
              <a:gd name="connsiteX19" fmla="*/ 1935291 w 2836707"/>
              <a:gd name="connsiteY19" fmla="*/ 99776 h 2833294"/>
              <a:gd name="connsiteX20" fmla="*/ 1961095 w 2836707"/>
              <a:gd name="connsiteY20" fmla="*/ 107517 h 2833294"/>
              <a:gd name="connsiteX21" fmla="*/ 1982599 w 2836707"/>
              <a:gd name="connsiteY21" fmla="*/ 118699 h 2833294"/>
              <a:gd name="connsiteX22" fmla="*/ 2003241 w 2836707"/>
              <a:gd name="connsiteY22" fmla="*/ 133322 h 2833294"/>
              <a:gd name="connsiteX23" fmla="*/ 2021304 w 2836707"/>
              <a:gd name="connsiteY23" fmla="*/ 150524 h 2833294"/>
              <a:gd name="connsiteX24" fmla="*/ 2039367 w 2836707"/>
              <a:gd name="connsiteY24" fmla="*/ 170307 h 2833294"/>
              <a:gd name="connsiteX25" fmla="*/ 2055710 w 2836707"/>
              <a:gd name="connsiteY25" fmla="*/ 190950 h 2833294"/>
              <a:gd name="connsiteX26" fmla="*/ 2072052 w 2836707"/>
              <a:gd name="connsiteY26" fmla="*/ 212454 h 2833294"/>
              <a:gd name="connsiteX27" fmla="*/ 2088394 w 2836707"/>
              <a:gd name="connsiteY27" fmla="*/ 233957 h 2833294"/>
              <a:gd name="connsiteX28" fmla="*/ 2104736 w 2836707"/>
              <a:gd name="connsiteY28" fmla="*/ 254601 h 2833294"/>
              <a:gd name="connsiteX29" fmla="*/ 2121940 w 2836707"/>
              <a:gd name="connsiteY29" fmla="*/ 274384 h 2833294"/>
              <a:gd name="connsiteX30" fmla="*/ 2141723 w 2836707"/>
              <a:gd name="connsiteY30" fmla="*/ 291587 h 2833294"/>
              <a:gd name="connsiteX31" fmla="*/ 2160646 w 2836707"/>
              <a:gd name="connsiteY31" fmla="*/ 307070 h 2833294"/>
              <a:gd name="connsiteX32" fmla="*/ 2182149 w 2836707"/>
              <a:gd name="connsiteY32" fmla="*/ 319111 h 2833294"/>
              <a:gd name="connsiteX33" fmla="*/ 2205372 w 2836707"/>
              <a:gd name="connsiteY33" fmla="*/ 329433 h 2833294"/>
              <a:gd name="connsiteX34" fmla="*/ 2230316 w 2836707"/>
              <a:gd name="connsiteY34" fmla="*/ 338034 h 2833294"/>
              <a:gd name="connsiteX35" fmla="*/ 2256119 w 2836707"/>
              <a:gd name="connsiteY35" fmla="*/ 345775 h 2833294"/>
              <a:gd name="connsiteX36" fmla="*/ 2281923 w 2836707"/>
              <a:gd name="connsiteY36" fmla="*/ 352656 h 2833294"/>
              <a:gd name="connsiteX37" fmla="*/ 2308587 w 2836707"/>
              <a:gd name="connsiteY37" fmla="*/ 359538 h 2833294"/>
              <a:gd name="connsiteX38" fmla="*/ 2333531 w 2836707"/>
              <a:gd name="connsiteY38" fmla="*/ 367279 h 2833294"/>
              <a:gd name="connsiteX39" fmla="*/ 2358474 w 2836707"/>
              <a:gd name="connsiteY39" fmla="*/ 375880 h 2833294"/>
              <a:gd name="connsiteX40" fmla="*/ 2381698 w 2836707"/>
              <a:gd name="connsiteY40" fmla="*/ 386202 h 2833294"/>
              <a:gd name="connsiteX41" fmla="*/ 2402342 w 2836707"/>
              <a:gd name="connsiteY41" fmla="*/ 399104 h 2833294"/>
              <a:gd name="connsiteX42" fmla="*/ 2421265 w 2836707"/>
              <a:gd name="connsiteY42" fmla="*/ 414587 h 2833294"/>
              <a:gd name="connsiteX43" fmla="*/ 2436746 w 2836707"/>
              <a:gd name="connsiteY43" fmla="*/ 433510 h 2833294"/>
              <a:gd name="connsiteX44" fmla="*/ 2449649 w 2836707"/>
              <a:gd name="connsiteY44" fmla="*/ 454153 h 2833294"/>
              <a:gd name="connsiteX45" fmla="*/ 2459970 w 2836707"/>
              <a:gd name="connsiteY45" fmla="*/ 477376 h 2833294"/>
              <a:gd name="connsiteX46" fmla="*/ 2468571 w 2836707"/>
              <a:gd name="connsiteY46" fmla="*/ 502321 h 2833294"/>
              <a:gd name="connsiteX47" fmla="*/ 2476312 w 2836707"/>
              <a:gd name="connsiteY47" fmla="*/ 527264 h 2833294"/>
              <a:gd name="connsiteX48" fmla="*/ 2483194 w 2836707"/>
              <a:gd name="connsiteY48" fmla="*/ 553929 h 2833294"/>
              <a:gd name="connsiteX49" fmla="*/ 2490075 w 2836707"/>
              <a:gd name="connsiteY49" fmla="*/ 579732 h 2833294"/>
              <a:gd name="connsiteX50" fmla="*/ 2497816 w 2836707"/>
              <a:gd name="connsiteY50" fmla="*/ 605537 h 2833294"/>
              <a:gd name="connsiteX51" fmla="*/ 2506417 w 2836707"/>
              <a:gd name="connsiteY51" fmla="*/ 630482 h 2833294"/>
              <a:gd name="connsiteX52" fmla="*/ 2516738 w 2836707"/>
              <a:gd name="connsiteY52" fmla="*/ 653705 h 2833294"/>
              <a:gd name="connsiteX53" fmla="*/ 2528781 w 2836707"/>
              <a:gd name="connsiteY53" fmla="*/ 675208 h 2833294"/>
              <a:gd name="connsiteX54" fmla="*/ 2544263 w 2836707"/>
              <a:gd name="connsiteY54" fmla="*/ 694132 h 2833294"/>
              <a:gd name="connsiteX55" fmla="*/ 2561465 w 2836707"/>
              <a:gd name="connsiteY55" fmla="*/ 713915 h 2833294"/>
              <a:gd name="connsiteX56" fmla="*/ 2581248 w 2836707"/>
              <a:gd name="connsiteY56" fmla="*/ 731117 h 2833294"/>
              <a:gd name="connsiteX57" fmla="*/ 2601892 w 2836707"/>
              <a:gd name="connsiteY57" fmla="*/ 747460 h 2833294"/>
              <a:gd name="connsiteX58" fmla="*/ 2624255 w 2836707"/>
              <a:gd name="connsiteY58" fmla="*/ 763802 h 2833294"/>
              <a:gd name="connsiteX59" fmla="*/ 2645758 w 2836707"/>
              <a:gd name="connsiteY59" fmla="*/ 780145 h 2833294"/>
              <a:gd name="connsiteX60" fmla="*/ 2666401 w 2836707"/>
              <a:gd name="connsiteY60" fmla="*/ 796488 h 2833294"/>
              <a:gd name="connsiteX61" fmla="*/ 2686183 w 2836707"/>
              <a:gd name="connsiteY61" fmla="*/ 814551 h 2833294"/>
              <a:gd name="connsiteX62" fmla="*/ 2703387 w 2836707"/>
              <a:gd name="connsiteY62" fmla="*/ 832614 h 2833294"/>
              <a:gd name="connsiteX63" fmla="*/ 2718009 w 2836707"/>
              <a:gd name="connsiteY63" fmla="*/ 853257 h 2833294"/>
              <a:gd name="connsiteX64" fmla="*/ 2729191 w 2836707"/>
              <a:gd name="connsiteY64" fmla="*/ 874760 h 2833294"/>
              <a:gd name="connsiteX65" fmla="*/ 2736932 w 2836707"/>
              <a:gd name="connsiteY65" fmla="*/ 900565 h 2833294"/>
              <a:gd name="connsiteX66" fmla="*/ 2740372 w 2836707"/>
              <a:gd name="connsiteY66" fmla="*/ 927229 h 2833294"/>
              <a:gd name="connsiteX67" fmla="*/ 2741233 w 2836707"/>
              <a:gd name="connsiteY67" fmla="*/ 954754 h 2833294"/>
              <a:gd name="connsiteX68" fmla="*/ 2738652 w 2836707"/>
              <a:gd name="connsiteY68" fmla="*/ 983998 h 2833294"/>
              <a:gd name="connsiteX69" fmla="*/ 2735211 w 2836707"/>
              <a:gd name="connsiteY69" fmla="*/ 1013242 h 2833294"/>
              <a:gd name="connsiteX70" fmla="*/ 2730911 w 2836707"/>
              <a:gd name="connsiteY70" fmla="*/ 1042487 h 2833294"/>
              <a:gd name="connsiteX71" fmla="*/ 2727470 w 2836707"/>
              <a:gd name="connsiteY71" fmla="*/ 1071732 h 2833294"/>
              <a:gd name="connsiteX72" fmla="*/ 2725751 w 2836707"/>
              <a:gd name="connsiteY72" fmla="*/ 1100977 h 2833294"/>
              <a:gd name="connsiteX73" fmla="*/ 2725751 w 2836707"/>
              <a:gd name="connsiteY73" fmla="*/ 1129361 h 2833294"/>
              <a:gd name="connsiteX74" fmla="*/ 2729191 w 2836707"/>
              <a:gd name="connsiteY74" fmla="*/ 1156025 h 2833294"/>
              <a:gd name="connsiteX75" fmla="*/ 2736071 w 2836707"/>
              <a:gd name="connsiteY75" fmla="*/ 1182689 h 2833294"/>
              <a:gd name="connsiteX76" fmla="*/ 2746393 w 2836707"/>
              <a:gd name="connsiteY76" fmla="*/ 1207634 h 2833294"/>
              <a:gd name="connsiteX77" fmla="*/ 2760156 w 2836707"/>
              <a:gd name="connsiteY77" fmla="*/ 1233438 h 2833294"/>
              <a:gd name="connsiteX78" fmla="*/ 2773917 w 2836707"/>
              <a:gd name="connsiteY78" fmla="*/ 1259242 h 2833294"/>
              <a:gd name="connsiteX79" fmla="*/ 2789400 w 2836707"/>
              <a:gd name="connsiteY79" fmla="*/ 1285046 h 2833294"/>
              <a:gd name="connsiteX80" fmla="*/ 2804021 w 2836707"/>
              <a:gd name="connsiteY80" fmla="*/ 1309991 h 2833294"/>
              <a:gd name="connsiteX81" fmla="*/ 2816924 w 2836707"/>
              <a:gd name="connsiteY81" fmla="*/ 1336654 h 2833294"/>
              <a:gd name="connsiteX82" fmla="*/ 2827245 w 2836707"/>
              <a:gd name="connsiteY82" fmla="*/ 1362459 h 2833294"/>
              <a:gd name="connsiteX83" fmla="*/ 2834126 w 2836707"/>
              <a:gd name="connsiteY83" fmla="*/ 1389123 h 2833294"/>
              <a:gd name="connsiteX84" fmla="*/ 2836707 w 2836707"/>
              <a:gd name="connsiteY84" fmla="*/ 1416647 h 2833294"/>
              <a:gd name="connsiteX85" fmla="*/ 2834126 w 2836707"/>
              <a:gd name="connsiteY85" fmla="*/ 1444171 h 2833294"/>
              <a:gd name="connsiteX86" fmla="*/ 2827245 w 2836707"/>
              <a:gd name="connsiteY86" fmla="*/ 1470836 h 2833294"/>
              <a:gd name="connsiteX87" fmla="*/ 2816924 w 2836707"/>
              <a:gd name="connsiteY87" fmla="*/ 1496640 h 2833294"/>
              <a:gd name="connsiteX88" fmla="*/ 2804021 w 2836707"/>
              <a:gd name="connsiteY88" fmla="*/ 1523304 h 2833294"/>
              <a:gd name="connsiteX89" fmla="*/ 2789400 w 2836707"/>
              <a:gd name="connsiteY89" fmla="*/ 1548248 h 2833294"/>
              <a:gd name="connsiteX90" fmla="*/ 2773917 w 2836707"/>
              <a:gd name="connsiteY90" fmla="*/ 1574053 h 2833294"/>
              <a:gd name="connsiteX91" fmla="*/ 2760156 w 2836707"/>
              <a:gd name="connsiteY91" fmla="*/ 1599857 h 2833294"/>
              <a:gd name="connsiteX92" fmla="*/ 2746393 w 2836707"/>
              <a:gd name="connsiteY92" fmla="*/ 1625660 h 2833294"/>
              <a:gd name="connsiteX93" fmla="*/ 2736071 w 2836707"/>
              <a:gd name="connsiteY93" fmla="*/ 1650605 h 2833294"/>
              <a:gd name="connsiteX94" fmla="*/ 2729191 w 2836707"/>
              <a:gd name="connsiteY94" fmla="*/ 1677269 h 2833294"/>
              <a:gd name="connsiteX95" fmla="*/ 2725751 w 2836707"/>
              <a:gd name="connsiteY95" fmla="*/ 1703933 h 2833294"/>
              <a:gd name="connsiteX96" fmla="*/ 2725751 w 2836707"/>
              <a:gd name="connsiteY96" fmla="*/ 1732318 h 2833294"/>
              <a:gd name="connsiteX97" fmla="*/ 2727470 w 2836707"/>
              <a:gd name="connsiteY97" fmla="*/ 1761563 h 2833294"/>
              <a:gd name="connsiteX98" fmla="*/ 2730911 w 2836707"/>
              <a:gd name="connsiteY98" fmla="*/ 1790807 h 2833294"/>
              <a:gd name="connsiteX99" fmla="*/ 2735211 w 2836707"/>
              <a:gd name="connsiteY99" fmla="*/ 1820052 h 2833294"/>
              <a:gd name="connsiteX100" fmla="*/ 2738652 w 2836707"/>
              <a:gd name="connsiteY100" fmla="*/ 1849297 h 2833294"/>
              <a:gd name="connsiteX101" fmla="*/ 2741233 w 2836707"/>
              <a:gd name="connsiteY101" fmla="*/ 1878541 h 2833294"/>
              <a:gd name="connsiteX102" fmla="*/ 2740372 w 2836707"/>
              <a:gd name="connsiteY102" fmla="*/ 1906066 h 2833294"/>
              <a:gd name="connsiteX103" fmla="*/ 2736932 w 2836707"/>
              <a:gd name="connsiteY103" fmla="*/ 1932731 h 2833294"/>
              <a:gd name="connsiteX104" fmla="*/ 2729191 w 2836707"/>
              <a:gd name="connsiteY104" fmla="*/ 1958534 h 2833294"/>
              <a:gd name="connsiteX105" fmla="*/ 2718009 w 2836707"/>
              <a:gd name="connsiteY105" fmla="*/ 1980037 h 2833294"/>
              <a:gd name="connsiteX106" fmla="*/ 2703387 w 2836707"/>
              <a:gd name="connsiteY106" fmla="*/ 2000681 h 2833294"/>
              <a:gd name="connsiteX107" fmla="*/ 2686183 w 2836707"/>
              <a:gd name="connsiteY107" fmla="*/ 2018744 h 2833294"/>
              <a:gd name="connsiteX108" fmla="*/ 2666401 w 2836707"/>
              <a:gd name="connsiteY108" fmla="*/ 2036806 h 2833294"/>
              <a:gd name="connsiteX109" fmla="*/ 2645758 w 2836707"/>
              <a:gd name="connsiteY109" fmla="*/ 2053150 h 2833294"/>
              <a:gd name="connsiteX110" fmla="*/ 2624255 w 2836707"/>
              <a:gd name="connsiteY110" fmla="*/ 2069492 h 2833294"/>
              <a:gd name="connsiteX111" fmla="*/ 2601892 w 2836707"/>
              <a:gd name="connsiteY111" fmla="*/ 2085835 h 2833294"/>
              <a:gd name="connsiteX112" fmla="*/ 2581248 w 2836707"/>
              <a:gd name="connsiteY112" fmla="*/ 2102177 h 2833294"/>
              <a:gd name="connsiteX113" fmla="*/ 2561465 w 2836707"/>
              <a:gd name="connsiteY113" fmla="*/ 2119379 h 2833294"/>
              <a:gd name="connsiteX114" fmla="*/ 2544263 w 2836707"/>
              <a:gd name="connsiteY114" fmla="*/ 2139163 h 2833294"/>
              <a:gd name="connsiteX115" fmla="*/ 2528781 w 2836707"/>
              <a:gd name="connsiteY115" fmla="*/ 2158086 h 2833294"/>
              <a:gd name="connsiteX116" fmla="*/ 2516738 w 2836707"/>
              <a:gd name="connsiteY116" fmla="*/ 2179589 h 2833294"/>
              <a:gd name="connsiteX117" fmla="*/ 2506417 w 2836707"/>
              <a:gd name="connsiteY117" fmla="*/ 2202813 h 2833294"/>
              <a:gd name="connsiteX118" fmla="*/ 2497816 w 2836707"/>
              <a:gd name="connsiteY118" fmla="*/ 2227757 h 2833294"/>
              <a:gd name="connsiteX119" fmla="*/ 2490075 w 2836707"/>
              <a:gd name="connsiteY119" fmla="*/ 2253562 h 2833294"/>
              <a:gd name="connsiteX120" fmla="*/ 2483194 w 2836707"/>
              <a:gd name="connsiteY120" fmla="*/ 2279366 h 2833294"/>
              <a:gd name="connsiteX121" fmla="*/ 2476312 w 2836707"/>
              <a:gd name="connsiteY121" fmla="*/ 2306030 h 2833294"/>
              <a:gd name="connsiteX122" fmla="*/ 2468571 w 2836707"/>
              <a:gd name="connsiteY122" fmla="*/ 2330974 h 2833294"/>
              <a:gd name="connsiteX123" fmla="*/ 2459970 w 2836707"/>
              <a:gd name="connsiteY123" fmla="*/ 2355917 h 2833294"/>
              <a:gd name="connsiteX124" fmla="*/ 2449649 w 2836707"/>
              <a:gd name="connsiteY124" fmla="*/ 2379141 h 2833294"/>
              <a:gd name="connsiteX125" fmla="*/ 2436746 w 2836707"/>
              <a:gd name="connsiteY125" fmla="*/ 2399785 h 2833294"/>
              <a:gd name="connsiteX126" fmla="*/ 2421265 w 2836707"/>
              <a:gd name="connsiteY126" fmla="*/ 2418708 h 2833294"/>
              <a:gd name="connsiteX127" fmla="*/ 2402342 w 2836707"/>
              <a:gd name="connsiteY127" fmla="*/ 2434190 h 2833294"/>
              <a:gd name="connsiteX128" fmla="*/ 2381698 w 2836707"/>
              <a:gd name="connsiteY128" fmla="*/ 2447092 h 2833294"/>
              <a:gd name="connsiteX129" fmla="*/ 2358474 w 2836707"/>
              <a:gd name="connsiteY129" fmla="*/ 2457414 h 2833294"/>
              <a:gd name="connsiteX130" fmla="*/ 2333531 w 2836707"/>
              <a:gd name="connsiteY130" fmla="*/ 2466015 h 2833294"/>
              <a:gd name="connsiteX131" fmla="*/ 2308587 w 2836707"/>
              <a:gd name="connsiteY131" fmla="*/ 2473756 h 2833294"/>
              <a:gd name="connsiteX132" fmla="*/ 2281923 w 2836707"/>
              <a:gd name="connsiteY132" fmla="*/ 2480638 h 2833294"/>
              <a:gd name="connsiteX133" fmla="*/ 2256119 w 2836707"/>
              <a:gd name="connsiteY133" fmla="*/ 2487519 h 2833294"/>
              <a:gd name="connsiteX134" fmla="*/ 2230316 w 2836707"/>
              <a:gd name="connsiteY134" fmla="*/ 2495260 h 2833294"/>
              <a:gd name="connsiteX135" fmla="*/ 2205372 w 2836707"/>
              <a:gd name="connsiteY135" fmla="*/ 2503862 h 2833294"/>
              <a:gd name="connsiteX136" fmla="*/ 2182149 w 2836707"/>
              <a:gd name="connsiteY136" fmla="*/ 2514184 h 2833294"/>
              <a:gd name="connsiteX137" fmla="*/ 2160646 w 2836707"/>
              <a:gd name="connsiteY137" fmla="*/ 2526225 h 2833294"/>
              <a:gd name="connsiteX138" fmla="*/ 2141723 w 2836707"/>
              <a:gd name="connsiteY138" fmla="*/ 2541707 h 2833294"/>
              <a:gd name="connsiteX139" fmla="*/ 2121940 w 2836707"/>
              <a:gd name="connsiteY139" fmla="*/ 2558911 h 2833294"/>
              <a:gd name="connsiteX140" fmla="*/ 2104736 w 2836707"/>
              <a:gd name="connsiteY140" fmla="*/ 2578694 h 2833294"/>
              <a:gd name="connsiteX141" fmla="*/ 2088394 w 2836707"/>
              <a:gd name="connsiteY141" fmla="*/ 2599337 h 2833294"/>
              <a:gd name="connsiteX142" fmla="*/ 2072052 w 2836707"/>
              <a:gd name="connsiteY142" fmla="*/ 2620840 h 2833294"/>
              <a:gd name="connsiteX143" fmla="*/ 2055710 w 2836707"/>
              <a:gd name="connsiteY143" fmla="*/ 2642344 h 2833294"/>
              <a:gd name="connsiteX144" fmla="*/ 2039367 w 2836707"/>
              <a:gd name="connsiteY144" fmla="*/ 2662987 h 2833294"/>
              <a:gd name="connsiteX145" fmla="*/ 2021304 w 2836707"/>
              <a:gd name="connsiteY145" fmla="*/ 2682770 h 2833294"/>
              <a:gd name="connsiteX146" fmla="*/ 2003241 w 2836707"/>
              <a:gd name="connsiteY146" fmla="*/ 2699973 h 2833294"/>
              <a:gd name="connsiteX147" fmla="*/ 1982599 w 2836707"/>
              <a:gd name="connsiteY147" fmla="*/ 2714595 h 2833294"/>
              <a:gd name="connsiteX148" fmla="*/ 1961095 w 2836707"/>
              <a:gd name="connsiteY148" fmla="*/ 2725777 h 2833294"/>
              <a:gd name="connsiteX149" fmla="*/ 1935291 w 2836707"/>
              <a:gd name="connsiteY149" fmla="*/ 2733518 h 2833294"/>
              <a:gd name="connsiteX150" fmla="*/ 1908627 w 2836707"/>
              <a:gd name="connsiteY150" fmla="*/ 2736959 h 2833294"/>
              <a:gd name="connsiteX151" fmla="*/ 1881104 w 2836707"/>
              <a:gd name="connsiteY151" fmla="*/ 2737819 h 2833294"/>
              <a:gd name="connsiteX152" fmla="*/ 1851859 w 2836707"/>
              <a:gd name="connsiteY152" fmla="*/ 2735238 h 2833294"/>
              <a:gd name="connsiteX153" fmla="*/ 1822615 w 2836707"/>
              <a:gd name="connsiteY153" fmla="*/ 2731799 h 2833294"/>
              <a:gd name="connsiteX154" fmla="*/ 1793370 w 2836707"/>
              <a:gd name="connsiteY154" fmla="*/ 2727497 h 2833294"/>
              <a:gd name="connsiteX155" fmla="*/ 1764126 w 2836707"/>
              <a:gd name="connsiteY155" fmla="*/ 2724057 h 2833294"/>
              <a:gd name="connsiteX156" fmla="*/ 1734881 w 2836707"/>
              <a:gd name="connsiteY156" fmla="*/ 2722336 h 2833294"/>
              <a:gd name="connsiteX157" fmla="*/ 1706497 w 2836707"/>
              <a:gd name="connsiteY157" fmla="*/ 2722336 h 2833294"/>
              <a:gd name="connsiteX158" fmla="*/ 1679833 w 2836707"/>
              <a:gd name="connsiteY158" fmla="*/ 2725777 h 2833294"/>
              <a:gd name="connsiteX159" fmla="*/ 1652309 w 2836707"/>
              <a:gd name="connsiteY159" fmla="*/ 2732658 h 2833294"/>
              <a:gd name="connsiteX160" fmla="*/ 1627365 w 2836707"/>
              <a:gd name="connsiteY160" fmla="*/ 2742980 h 2833294"/>
              <a:gd name="connsiteX161" fmla="*/ 1601561 w 2836707"/>
              <a:gd name="connsiteY161" fmla="*/ 2756742 h 2833294"/>
              <a:gd name="connsiteX162" fmla="*/ 1575758 w 2836707"/>
              <a:gd name="connsiteY162" fmla="*/ 2770505 h 2833294"/>
              <a:gd name="connsiteX163" fmla="*/ 1549954 w 2836707"/>
              <a:gd name="connsiteY163" fmla="*/ 2785987 h 2833294"/>
              <a:gd name="connsiteX164" fmla="*/ 1525009 w 2836707"/>
              <a:gd name="connsiteY164" fmla="*/ 2800609 h 2833294"/>
              <a:gd name="connsiteX165" fmla="*/ 1498346 w 2836707"/>
              <a:gd name="connsiteY165" fmla="*/ 2813511 h 2833294"/>
              <a:gd name="connsiteX166" fmla="*/ 1472542 w 2836707"/>
              <a:gd name="connsiteY166" fmla="*/ 2823833 h 2833294"/>
              <a:gd name="connsiteX167" fmla="*/ 1445877 w 2836707"/>
              <a:gd name="connsiteY167" fmla="*/ 2830714 h 2833294"/>
              <a:gd name="connsiteX168" fmla="*/ 1418354 w 2836707"/>
              <a:gd name="connsiteY168" fmla="*/ 2833294 h 2833294"/>
              <a:gd name="connsiteX169" fmla="*/ 1390830 w 2836707"/>
              <a:gd name="connsiteY169" fmla="*/ 2830714 h 2833294"/>
              <a:gd name="connsiteX170" fmla="*/ 1364166 w 2836707"/>
              <a:gd name="connsiteY170" fmla="*/ 2823833 h 2833294"/>
              <a:gd name="connsiteX171" fmla="*/ 1338362 w 2836707"/>
              <a:gd name="connsiteY171" fmla="*/ 2813511 h 2833294"/>
              <a:gd name="connsiteX172" fmla="*/ 1311698 w 2836707"/>
              <a:gd name="connsiteY172" fmla="*/ 2800609 h 2833294"/>
              <a:gd name="connsiteX173" fmla="*/ 1286754 w 2836707"/>
              <a:gd name="connsiteY173" fmla="*/ 2785987 h 2833294"/>
              <a:gd name="connsiteX174" fmla="*/ 1260950 w 2836707"/>
              <a:gd name="connsiteY174" fmla="*/ 2770505 h 2833294"/>
              <a:gd name="connsiteX175" fmla="*/ 1235146 w 2836707"/>
              <a:gd name="connsiteY175" fmla="*/ 2756742 h 2833294"/>
              <a:gd name="connsiteX176" fmla="*/ 1209343 w 2836707"/>
              <a:gd name="connsiteY176" fmla="*/ 2742980 h 2833294"/>
              <a:gd name="connsiteX177" fmla="*/ 1183539 w 2836707"/>
              <a:gd name="connsiteY177" fmla="*/ 2732658 h 2833294"/>
              <a:gd name="connsiteX178" fmla="*/ 1156875 w 2836707"/>
              <a:gd name="connsiteY178" fmla="*/ 2725777 h 2833294"/>
              <a:gd name="connsiteX179" fmla="*/ 1130211 w 2836707"/>
              <a:gd name="connsiteY179" fmla="*/ 2722336 h 2833294"/>
              <a:gd name="connsiteX180" fmla="*/ 1101826 w 2836707"/>
              <a:gd name="connsiteY180" fmla="*/ 2722336 h 2833294"/>
              <a:gd name="connsiteX181" fmla="*/ 1072582 w 2836707"/>
              <a:gd name="connsiteY181" fmla="*/ 2724057 h 2833294"/>
              <a:gd name="connsiteX182" fmla="*/ 1043338 w 2836707"/>
              <a:gd name="connsiteY182" fmla="*/ 2727497 h 2833294"/>
              <a:gd name="connsiteX183" fmla="*/ 1014093 w 2836707"/>
              <a:gd name="connsiteY183" fmla="*/ 2731799 h 2833294"/>
              <a:gd name="connsiteX184" fmla="*/ 984848 w 2836707"/>
              <a:gd name="connsiteY184" fmla="*/ 2735238 h 2833294"/>
              <a:gd name="connsiteX185" fmla="*/ 955604 w 2836707"/>
              <a:gd name="connsiteY185" fmla="*/ 2737819 h 2833294"/>
              <a:gd name="connsiteX186" fmla="*/ 928081 w 2836707"/>
              <a:gd name="connsiteY186" fmla="*/ 2736959 h 2833294"/>
              <a:gd name="connsiteX187" fmla="*/ 901416 w 2836707"/>
              <a:gd name="connsiteY187" fmla="*/ 2733518 h 2833294"/>
              <a:gd name="connsiteX188" fmla="*/ 875612 w 2836707"/>
              <a:gd name="connsiteY188" fmla="*/ 2725777 h 2833294"/>
              <a:gd name="connsiteX189" fmla="*/ 854109 w 2836707"/>
              <a:gd name="connsiteY189" fmla="*/ 2714595 h 2833294"/>
              <a:gd name="connsiteX190" fmla="*/ 833465 w 2836707"/>
              <a:gd name="connsiteY190" fmla="*/ 2699973 h 2833294"/>
              <a:gd name="connsiteX191" fmla="*/ 815403 w 2836707"/>
              <a:gd name="connsiteY191" fmla="*/ 2682770 h 2833294"/>
              <a:gd name="connsiteX192" fmla="*/ 797340 w 2836707"/>
              <a:gd name="connsiteY192" fmla="*/ 2662987 h 2833294"/>
              <a:gd name="connsiteX193" fmla="*/ 780998 w 2836707"/>
              <a:gd name="connsiteY193" fmla="*/ 2642344 h 2833294"/>
              <a:gd name="connsiteX194" fmla="*/ 764655 w 2836707"/>
              <a:gd name="connsiteY194" fmla="*/ 2620840 h 2833294"/>
              <a:gd name="connsiteX195" fmla="*/ 748313 w 2836707"/>
              <a:gd name="connsiteY195" fmla="*/ 2599337 h 2833294"/>
              <a:gd name="connsiteX196" fmla="*/ 731971 w 2836707"/>
              <a:gd name="connsiteY196" fmla="*/ 2578694 h 2833294"/>
              <a:gd name="connsiteX197" fmla="*/ 714768 w 2836707"/>
              <a:gd name="connsiteY197" fmla="*/ 2558911 h 2833294"/>
              <a:gd name="connsiteX198" fmla="*/ 694985 w 2836707"/>
              <a:gd name="connsiteY198" fmla="*/ 2541707 h 2833294"/>
              <a:gd name="connsiteX199" fmla="*/ 676062 w 2836707"/>
              <a:gd name="connsiteY199" fmla="*/ 2526225 h 2833294"/>
              <a:gd name="connsiteX200" fmla="*/ 654559 w 2836707"/>
              <a:gd name="connsiteY200" fmla="*/ 2514184 h 2833294"/>
              <a:gd name="connsiteX201" fmla="*/ 631335 w 2836707"/>
              <a:gd name="connsiteY201" fmla="*/ 2503862 h 2833294"/>
              <a:gd name="connsiteX202" fmla="*/ 606392 w 2836707"/>
              <a:gd name="connsiteY202" fmla="*/ 2495260 h 2833294"/>
              <a:gd name="connsiteX203" fmla="*/ 580587 w 2836707"/>
              <a:gd name="connsiteY203" fmla="*/ 2487519 h 2833294"/>
              <a:gd name="connsiteX204" fmla="*/ 554784 w 2836707"/>
              <a:gd name="connsiteY204" fmla="*/ 2480638 h 2833294"/>
              <a:gd name="connsiteX205" fmla="*/ 528120 w 2836707"/>
              <a:gd name="connsiteY205" fmla="*/ 2473756 h 2833294"/>
              <a:gd name="connsiteX206" fmla="*/ 503176 w 2836707"/>
              <a:gd name="connsiteY206" fmla="*/ 2466015 h 2833294"/>
              <a:gd name="connsiteX207" fmla="*/ 478232 w 2836707"/>
              <a:gd name="connsiteY207" fmla="*/ 2457414 h 2833294"/>
              <a:gd name="connsiteX208" fmla="*/ 455009 w 2836707"/>
              <a:gd name="connsiteY208" fmla="*/ 2447092 h 2833294"/>
              <a:gd name="connsiteX209" fmla="*/ 434366 w 2836707"/>
              <a:gd name="connsiteY209" fmla="*/ 2434190 h 2833294"/>
              <a:gd name="connsiteX210" fmla="*/ 415442 w 2836707"/>
              <a:gd name="connsiteY210" fmla="*/ 2418708 h 2833294"/>
              <a:gd name="connsiteX211" fmla="*/ 399961 w 2836707"/>
              <a:gd name="connsiteY211" fmla="*/ 2399785 h 2833294"/>
              <a:gd name="connsiteX212" fmla="*/ 387059 w 2836707"/>
              <a:gd name="connsiteY212" fmla="*/ 2379141 h 2833294"/>
              <a:gd name="connsiteX213" fmla="*/ 376737 w 2836707"/>
              <a:gd name="connsiteY213" fmla="*/ 2355917 h 2833294"/>
              <a:gd name="connsiteX214" fmla="*/ 368136 w 2836707"/>
              <a:gd name="connsiteY214" fmla="*/ 2330974 h 2833294"/>
              <a:gd name="connsiteX215" fmla="*/ 360395 w 2836707"/>
              <a:gd name="connsiteY215" fmla="*/ 2306030 h 2833294"/>
              <a:gd name="connsiteX216" fmla="*/ 353514 w 2836707"/>
              <a:gd name="connsiteY216" fmla="*/ 2279366 h 2833294"/>
              <a:gd name="connsiteX217" fmla="*/ 346633 w 2836707"/>
              <a:gd name="connsiteY217" fmla="*/ 2253562 h 2833294"/>
              <a:gd name="connsiteX218" fmla="*/ 338891 w 2836707"/>
              <a:gd name="connsiteY218" fmla="*/ 2227757 h 2833294"/>
              <a:gd name="connsiteX219" fmla="*/ 330290 w 2836707"/>
              <a:gd name="connsiteY219" fmla="*/ 2202813 h 2833294"/>
              <a:gd name="connsiteX220" fmla="*/ 319968 w 2836707"/>
              <a:gd name="connsiteY220" fmla="*/ 2179589 h 2833294"/>
              <a:gd name="connsiteX221" fmla="*/ 307927 w 2836707"/>
              <a:gd name="connsiteY221" fmla="*/ 2158086 h 2833294"/>
              <a:gd name="connsiteX222" fmla="*/ 292445 w 2836707"/>
              <a:gd name="connsiteY222" fmla="*/ 2139163 h 2833294"/>
              <a:gd name="connsiteX223" fmla="*/ 275242 w 2836707"/>
              <a:gd name="connsiteY223" fmla="*/ 2119379 h 2833294"/>
              <a:gd name="connsiteX224" fmla="*/ 255459 w 2836707"/>
              <a:gd name="connsiteY224" fmla="*/ 2102177 h 2833294"/>
              <a:gd name="connsiteX225" fmla="*/ 233955 w 2836707"/>
              <a:gd name="connsiteY225" fmla="*/ 2085835 h 2833294"/>
              <a:gd name="connsiteX226" fmla="*/ 212452 w 2836707"/>
              <a:gd name="connsiteY226" fmla="*/ 2069492 h 2833294"/>
              <a:gd name="connsiteX227" fmla="*/ 190950 w 2836707"/>
              <a:gd name="connsiteY227" fmla="*/ 2053150 h 2833294"/>
              <a:gd name="connsiteX228" fmla="*/ 170306 w 2836707"/>
              <a:gd name="connsiteY228" fmla="*/ 2036806 h 2833294"/>
              <a:gd name="connsiteX229" fmla="*/ 150523 w 2836707"/>
              <a:gd name="connsiteY229" fmla="*/ 2018744 h 2833294"/>
              <a:gd name="connsiteX230" fmla="*/ 133321 w 2836707"/>
              <a:gd name="connsiteY230" fmla="*/ 2000681 h 2833294"/>
              <a:gd name="connsiteX231" fmla="*/ 118699 w 2836707"/>
              <a:gd name="connsiteY231" fmla="*/ 1980037 h 2833294"/>
              <a:gd name="connsiteX232" fmla="*/ 107517 w 2836707"/>
              <a:gd name="connsiteY232" fmla="*/ 1958534 h 2833294"/>
              <a:gd name="connsiteX233" fmla="*/ 99776 w 2836707"/>
              <a:gd name="connsiteY233" fmla="*/ 1932731 h 2833294"/>
              <a:gd name="connsiteX234" fmla="*/ 96335 w 2836707"/>
              <a:gd name="connsiteY234" fmla="*/ 1906066 h 2833294"/>
              <a:gd name="connsiteX235" fmla="*/ 95474 w 2836707"/>
              <a:gd name="connsiteY235" fmla="*/ 1878541 h 2833294"/>
              <a:gd name="connsiteX236" fmla="*/ 98055 w 2836707"/>
              <a:gd name="connsiteY236" fmla="*/ 1849297 h 2833294"/>
              <a:gd name="connsiteX237" fmla="*/ 101496 w 2836707"/>
              <a:gd name="connsiteY237" fmla="*/ 1820052 h 2833294"/>
              <a:gd name="connsiteX238" fmla="*/ 105796 w 2836707"/>
              <a:gd name="connsiteY238" fmla="*/ 1790807 h 2833294"/>
              <a:gd name="connsiteX239" fmla="*/ 109237 w 2836707"/>
              <a:gd name="connsiteY239" fmla="*/ 1761563 h 2833294"/>
              <a:gd name="connsiteX240" fmla="*/ 110958 w 2836707"/>
              <a:gd name="connsiteY240" fmla="*/ 1732318 h 2833294"/>
              <a:gd name="connsiteX241" fmla="*/ 110958 w 2836707"/>
              <a:gd name="connsiteY241" fmla="*/ 1703933 h 2833294"/>
              <a:gd name="connsiteX242" fmla="*/ 107517 w 2836707"/>
              <a:gd name="connsiteY242" fmla="*/ 1677269 h 2833294"/>
              <a:gd name="connsiteX243" fmla="*/ 100636 w 2836707"/>
              <a:gd name="connsiteY243" fmla="*/ 1650605 h 2833294"/>
              <a:gd name="connsiteX244" fmla="*/ 90314 w 2836707"/>
              <a:gd name="connsiteY244" fmla="*/ 1625660 h 2833294"/>
              <a:gd name="connsiteX245" fmla="*/ 77412 w 2836707"/>
              <a:gd name="connsiteY245" fmla="*/ 1599857 h 2833294"/>
              <a:gd name="connsiteX246" fmla="*/ 62790 w 2836707"/>
              <a:gd name="connsiteY246" fmla="*/ 1574053 h 2833294"/>
              <a:gd name="connsiteX247" fmla="*/ 47308 w 2836707"/>
              <a:gd name="connsiteY247" fmla="*/ 1548248 h 2833294"/>
              <a:gd name="connsiteX248" fmla="*/ 32686 w 2836707"/>
              <a:gd name="connsiteY248" fmla="*/ 1523304 h 2833294"/>
              <a:gd name="connsiteX249" fmla="*/ 19783 w 2836707"/>
              <a:gd name="connsiteY249" fmla="*/ 1496640 h 2833294"/>
              <a:gd name="connsiteX250" fmla="*/ 9462 w 2836707"/>
              <a:gd name="connsiteY250" fmla="*/ 1470836 h 2833294"/>
              <a:gd name="connsiteX251" fmla="*/ 2581 w 2836707"/>
              <a:gd name="connsiteY251" fmla="*/ 1444171 h 2833294"/>
              <a:gd name="connsiteX252" fmla="*/ 0 w 2836707"/>
              <a:gd name="connsiteY252" fmla="*/ 1416647 h 2833294"/>
              <a:gd name="connsiteX253" fmla="*/ 2581 w 2836707"/>
              <a:gd name="connsiteY253" fmla="*/ 1389123 h 2833294"/>
              <a:gd name="connsiteX254" fmla="*/ 9462 w 2836707"/>
              <a:gd name="connsiteY254" fmla="*/ 1362459 h 2833294"/>
              <a:gd name="connsiteX255" fmla="*/ 19783 w 2836707"/>
              <a:gd name="connsiteY255" fmla="*/ 1336654 h 2833294"/>
              <a:gd name="connsiteX256" fmla="*/ 32686 w 2836707"/>
              <a:gd name="connsiteY256" fmla="*/ 1309991 h 2833294"/>
              <a:gd name="connsiteX257" fmla="*/ 47308 w 2836707"/>
              <a:gd name="connsiteY257" fmla="*/ 1285046 h 2833294"/>
              <a:gd name="connsiteX258" fmla="*/ 62790 w 2836707"/>
              <a:gd name="connsiteY258" fmla="*/ 1259242 h 2833294"/>
              <a:gd name="connsiteX259" fmla="*/ 77412 w 2836707"/>
              <a:gd name="connsiteY259" fmla="*/ 1233438 h 2833294"/>
              <a:gd name="connsiteX260" fmla="*/ 90314 w 2836707"/>
              <a:gd name="connsiteY260" fmla="*/ 1207634 h 2833294"/>
              <a:gd name="connsiteX261" fmla="*/ 100636 w 2836707"/>
              <a:gd name="connsiteY261" fmla="*/ 1182689 h 2833294"/>
              <a:gd name="connsiteX262" fmla="*/ 107517 w 2836707"/>
              <a:gd name="connsiteY262" fmla="*/ 1156025 h 2833294"/>
              <a:gd name="connsiteX263" fmla="*/ 110958 w 2836707"/>
              <a:gd name="connsiteY263" fmla="*/ 1129361 h 2833294"/>
              <a:gd name="connsiteX264" fmla="*/ 110958 w 2836707"/>
              <a:gd name="connsiteY264" fmla="*/ 1100977 h 2833294"/>
              <a:gd name="connsiteX265" fmla="*/ 109237 w 2836707"/>
              <a:gd name="connsiteY265" fmla="*/ 1071732 h 2833294"/>
              <a:gd name="connsiteX266" fmla="*/ 105796 w 2836707"/>
              <a:gd name="connsiteY266" fmla="*/ 1042487 h 2833294"/>
              <a:gd name="connsiteX267" fmla="*/ 101496 w 2836707"/>
              <a:gd name="connsiteY267" fmla="*/ 1013242 h 2833294"/>
              <a:gd name="connsiteX268" fmla="*/ 98055 w 2836707"/>
              <a:gd name="connsiteY268" fmla="*/ 983998 h 2833294"/>
              <a:gd name="connsiteX269" fmla="*/ 95474 w 2836707"/>
              <a:gd name="connsiteY269" fmla="*/ 954754 h 2833294"/>
              <a:gd name="connsiteX270" fmla="*/ 96335 w 2836707"/>
              <a:gd name="connsiteY270" fmla="*/ 927229 h 2833294"/>
              <a:gd name="connsiteX271" fmla="*/ 99776 w 2836707"/>
              <a:gd name="connsiteY271" fmla="*/ 900565 h 2833294"/>
              <a:gd name="connsiteX272" fmla="*/ 107517 w 2836707"/>
              <a:gd name="connsiteY272" fmla="*/ 874760 h 2833294"/>
              <a:gd name="connsiteX273" fmla="*/ 118699 w 2836707"/>
              <a:gd name="connsiteY273" fmla="*/ 853257 h 2833294"/>
              <a:gd name="connsiteX274" fmla="*/ 133321 w 2836707"/>
              <a:gd name="connsiteY274" fmla="*/ 832614 h 2833294"/>
              <a:gd name="connsiteX275" fmla="*/ 150523 w 2836707"/>
              <a:gd name="connsiteY275" fmla="*/ 814551 h 2833294"/>
              <a:gd name="connsiteX276" fmla="*/ 170306 w 2836707"/>
              <a:gd name="connsiteY276" fmla="*/ 796488 h 2833294"/>
              <a:gd name="connsiteX277" fmla="*/ 190950 w 2836707"/>
              <a:gd name="connsiteY277" fmla="*/ 780145 h 2833294"/>
              <a:gd name="connsiteX278" fmla="*/ 212452 w 2836707"/>
              <a:gd name="connsiteY278" fmla="*/ 763802 h 2833294"/>
              <a:gd name="connsiteX279" fmla="*/ 233955 w 2836707"/>
              <a:gd name="connsiteY279" fmla="*/ 747460 h 2833294"/>
              <a:gd name="connsiteX280" fmla="*/ 255459 w 2836707"/>
              <a:gd name="connsiteY280" fmla="*/ 731117 h 2833294"/>
              <a:gd name="connsiteX281" fmla="*/ 275242 w 2836707"/>
              <a:gd name="connsiteY281" fmla="*/ 713915 h 2833294"/>
              <a:gd name="connsiteX282" fmla="*/ 292445 w 2836707"/>
              <a:gd name="connsiteY282" fmla="*/ 694132 h 2833294"/>
              <a:gd name="connsiteX283" fmla="*/ 307927 w 2836707"/>
              <a:gd name="connsiteY283" fmla="*/ 675208 h 2833294"/>
              <a:gd name="connsiteX284" fmla="*/ 319968 w 2836707"/>
              <a:gd name="connsiteY284" fmla="*/ 653705 h 2833294"/>
              <a:gd name="connsiteX285" fmla="*/ 330290 w 2836707"/>
              <a:gd name="connsiteY285" fmla="*/ 630482 h 2833294"/>
              <a:gd name="connsiteX286" fmla="*/ 338891 w 2836707"/>
              <a:gd name="connsiteY286" fmla="*/ 605537 h 2833294"/>
              <a:gd name="connsiteX287" fmla="*/ 346633 w 2836707"/>
              <a:gd name="connsiteY287" fmla="*/ 579732 h 2833294"/>
              <a:gd name="connsiteX288" fmla="*/ 353514 w 2836707"/>
              <a:gd name="connsiteY288" fmla="*/ 553929 h 2833294"/>
              <a:gd name="connsiteX289" fmla="*/ 360395 w 2836707"/>
              <a:gd name="connsiteY289" fmla="*/ 527264 h 2833294"/>
              <a:gd name="connsiteX290" fmla="*/ 368136 w 2836707"/>
              <a:gd name="connsiteY290" fmla="*/ 502321 h 2833294"/>
              <a:gd name="connsiteX291" fmla="*/ 376737 w 2836707"/>
              <a:gd name="connsiteY291" fmla="*/ 477376 h 2833294"/>
              <a:gd name="connsiteX292" fmla="*/ 387059 w 2836707"/>
              <a:gd name="connsiteY292" fmla="*/ 454153 h 2833294"/>
              <a:gd name="connsiteX293" fmla="*/ 399961 w 2836707"/>
              <a:gd name="connsiteY293" fmla="*/ 433510 h 2833294"/>
              <a:gd name="connsiteX294" fmla="*/ 415442 w 2836707"/>
              <a:gd name="connsiteY294" fmla="*/ 414587 h 2833294"/>
              <a:gd name="connsiteX295" fmla="*/ 434366 w 2836707"/>
              <a:gd name="connsiteY295" fmla="*/ 399104 h 2833294"/>
              <a:gd name="connsiteX296" fmla="*/ 455009 w 2836707"/>
              <a:gd name="connsiteY296" fmla="*/ 386202 h 2833294"/>
              <a:gd name="connsiteX297" fmla="*/ 478232 w 2836707"/>
              <a:gd name="connsiteY297" fmla="*/ 375880 h 2833294"/>
              <a:gd name="connsiteX298" fmla="*/ 503176 w 2836707"/>
              <a:gd name="connsiteY298" fmla="*/ 367279 h 2833294"/>
              <a:gd name="connsiteX299" fmla="*/ 528120 w 2836707"/>
              <a:gd name="connsiteY299" fmla="*/ 359538 h 2833294"/>
              <a:gd name="connsiteX300" fmla="*/ 554784 w 2836707"/>
              <a:gd name="connsiteY300" fmla="*/ 352656 h 2833294"/>
              <a:gd name="connsiteX301" fmla="*/ 580587 w 2836707"/>
              <a:gd name="connsiteY301" fmla="*/ 345775 h 2833294"/>
              <a:gd name="connsiteX302" fmla="*/ 606392 w 2836707"/>
              <a:gd name="connsiteY302" fmla="*/ 338034 h 2833294"/>
              <a:gd name="connsiteX303" fmla="*/ 631335 w 2836707"/>
              <a:gd name="connsiteY303" fmla="*/ 329433 h 2833294"/>
              <a:gd name="connsiteX304" fmla="*/ 654559 w 2836707"/>
              <a:gd name="connsiteY304" fmla="*/ 319111 h 2833294"/>
              <a:gd name="connsiteX305" fmla="*/ 676062 w 2836707"/>
              <a:gd name="connsiteY305" fmla="*/ 307070 h 2833294"/>
              <a:gd name="connsiteX306" fmla="*/ 694985 w 2836707"/>
              <a:gd name="connsiteY306" fmla="*/ 291587 h 2833294"/>
              <a:gd name="connsiteX307" fmla="*/ 714768 w 2836707"/>
              <a:gd name="connsiteY307" fmla="*/ 274384 h 2833294"/>
              <a:gd name="connsiteX308" fmla="*/ 731971 w 2836707"/>
              <a:gd name="connsiteY308" fmla="*/ 254601 h 2833294"/>
              <a:gd name="connsiteX309" fmla="*/ 748313 w 2836707"/>
              <a:gd name="connsiteY309" fmla="*/ 233957 h 2833294"/>
              <a:gd name="connsiteX310" fmla="*/ 764655 w 2836707"/>
              <a:gd name="connsiteY310" fmla="*/ 212454 h 2833294"/>
              <a:gd name="connsiteX311" fmla="*/ 780998 w 2836707"/>
              <a:gd name="connsiteY311" fmla="*/ 190950 h 2833294"/>
              <a:gd name="connsiteX312" fmla="*/ 797340 w 2836707"/>
              <a:gd name="connsiteY312" fmla="*/ 170307 h 2833294"/>
              <a:gd name="connsiteX313" fmla="*/ 815403 w 2836707"/>
              <a:gd name="connsiteY313" fmla="*/ 150524 h 2833294"/>
              <a:gd name="connsiteX314" fmla="*/ 833465 w 2836707"/>
              <a:gd name="connsiteY314" fmla="*/ 133322 h 2833294"/>
              <a:gd name="connsiteX315" fmla="*/ 854109 w 2836707"/>
              <a:gd name="connsiteY315" fmla="*/ 118699 h 2833294"/>
              <a:gd name="connsiteX316" fmla="*/ 875612 w 2836707"/>
              <a:gd name="connsiteY316" fmla="*/ 107517 h 2833294"/>
              <a:gd name="connsiteX317" fmla="*/ 901416 w 2836707"/>
              <a:gd name="connsiteY317" fmla="*/ 99776 h 2833294"/>
              <a:gd name="connsiteX318" fmla="*/ 928081 w 2836707"/>
              <a:gd name="connsiteY318" fmla="*/ 96335 h 2833294"/>
              <a:gd name="connsiteX319" fmla="*/ 955604 w 2836707"/>
              <a:gd name="connsiteY319" fmla="*/ 95475 h 2833294"/>
              <a:gd name="connsiteX320" fmla="*/ 984848 w 2836707"/>
              <a:gd name="connsiteY320" fmla="*/ 98056 h 2833294"/>
              <a:gd name="connsiteX321" fmla="*/ 1014093 w 2836707"/>
              <a:gd name="connsiteY321" fmla="*/ 101497 h 2833294"/>
              <a:gd name="connsiteX322" fmla="*/ 1043338 w 2836707"/>
              <a:gd name="connsiteY322" fmla="*/ 105797 h 2833294"/>
              <a:gd name="connsiteX323" fmla="*/ 1072582 w 2836707"/>
              <a:gd name="connsiteY323" fmla="*/ 109238 h 2833294"/>
              <a:gd name="connsiteX324" fmla="*/ 1101826 w 2836707"/>
              <a:gd name="connsiteY324" fmla="*/ 110958 h 2833294"/>
              <a:gd name="connsiteX325" fmla="*/ 1130211 w 2836707"/>
              <a:gd name="connsiteY325" fmla="*/ 110958 h 2833294"/>
              <a:gd name="connsiteX326" fmla="*/ 1156875 w 2836707"/>
              <a:gd name="connsiteY326" fmla="*/ 107517 h 2833294"/>
              <a:gd name="connsiteX327" fmla="*/ 1183539 w 2836707"/>
              <a:gd name="connsiteY327" fmla="*/ 100636 h 2833294"/>
              <a:gd name="connsiteX328" fmla="*/ 1209343 w 2836707"/>
              <a:gd name="connsiteY328" fmla="*/ 90315 h 2833294"/>
              <a:gd name="connsiteX329" fmla="*/ 1235146 w 2836707"/>
              <a:gd name="connsiteY329" fmla="*/ 76552 h 2833294"/>
              <a:gd name="connsiteX330" fmla="*/ 1260950 w 2836707"/>
              <a:gd name="connsiteY330" fmla="*/ 62790 h 2833294"/>
              <a:gd name="connsiteX331" fmla="*/ 1286754 w 2836707"/>
              <a:gd name="connsiteY331" fmla="*/ 47308 h 2833294"/>
              <a:gd name="connsiteX332" fmla="*/ 1311698 w 2836707"/>
              <a:gd name="connsiteY332" fmla="*/ 32685 h 2833294"/>
              <a:gd name="connsiteX333" fmla="*/ 1338362 w 2836707"/>
              <a:gd name="connsiteY333" fmla="*/ 19783 h 2833294"/>
              <a:gd name="connsiteX334" fmla="*/ 1364166 w 2836707"/>
              <a:gd name="connsiteY334" fmla="*/ 9461 h 2833294"/>
              <a:gd name="connsiteX335" fmla="*/ 1390830 w 2836707"/>
              <a:gd name="connsiteY335" fmla="*/ 2580 h 2833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</a:cxnLst>
            <a:rect l="l" t="t" r="r" b="b"/>
            <a:pathLst>
              <a:path w="2836707" h="2833294">
                <a:moveTo>
                  <a:pt x="1418354" y="0"/>
                </a:moveTo>
                <a:lnTo>
                  <a:pt x="1445877" y="2580"/>
                </a:lnTo>
                <a:lnTo>
                  <a:pt x="1472542" y="9461"/>
                </a:lnTo>
                <a:lnTo>
                  <a:pt x="1498346" y="19783"/>
                </a:lnTo>
                <a:lnTo>
                  <a:pt x="1525009" y="32685"/>
                </a:lnTo>
                <a:lnTo>
                  <a:pt x="1549954" y="47308"/>
                </a:lnTo>
                <a:lnTo>
                  <a:pt x="1575758" y="62790"/>
                </a:lnTo>
                <a:lnTo>
                  <a:pt x="1601561" y="76552"/>
                </a:lnTo>
                <a:lnTo>
                  <a:pt x="1627365" y="90315"/>
                </a:lnTo>
                <a:lnTo>
                  <a:pt x="1652309" y="100636"/>
                </a:lnTo>
                <a:lnTo>
                  <a:pt x="1679833" y="107517"/>
                </a:lnTo>
                <a:lnTo>
                  <a:pt x="1706497" y="110958"/>
                </a:lnTo>
                <a:lnTo>
                  <a:pt x="1734881" y="110958"/>
                </a:lnTo>
                <a:lnTo>
                  <a:pt x="1764126" y="109238"/>
                </a:lnTo>
                <a:lnTo>
                  <a:pt x="1793370" y="105797"/>
                </a:lnTo>
                <a:lnTo>
                  <a:pt x="1822615" y="101497"/>
                </a:lnTo>
                <a:lnTo>
                  <a:pt x="1851859" y="98056"/>
                </a:lnTo>
                <a:lnTo>
                  <a:pt x="1881104" y="95475"/>
                </a:lnTo>
                <a:lnTo>
                  <a:pt x="1908627" y="96335"/>
                </a:lnTo>
                <a:lnTo>
                  <a:pt x="1935291" y="99776"/>
                </a:lnTo>
                <a:lnTo>
                  <a:pt x="1961095" y="107517"/>
                </a:lnTo>
                <a:lnTo>
                  <a:pt x="1982599" y="118699"/>
                </a:lnTo>
                <a:lnTo>
                  <a:pt x="2003241" y="133322"/>
                </a:lnTo>
                <a:lnTo>
                  <a:pt x="2021304" y="150524"/>
                </a:lnTo>
                <a:lnTo>
                  <a:pt x="2039367" y="170307"/>
                </a:lnTo>
                <a:lnTo>
                  <a:pt x="2055710" y="190950"/>
                </a:lnTo>
                <a:lnTo>
                  <a:pt x="2072052" y="212454"/>
                </a:lnTo>
                <a:lnTo>
                  <a:pt x="2088394" y="233957"/>
                </a:lnTo>
                <a:lnTo>
                  <a:pt x="2104736" y="254601"/>
                </a:lnTo>
                <a:lnTo>
                  <a:pt x="2121940" y="274384"/>
                </a:lnTo>
                <a:lnTo>
                  <a:pt x="2141723" y="291587"/>
                </a:lnTo>
                <a:lnTo>
                  <a:pt x="2160646" y="307070"/>
                </a:lnTo>
                <a:lnTo>
                  <a:pt x="2182149" y="319111"/>
                </a:lnTo>
                <a:lnTo>
                  <a:pt x="2205372" y="329433"/>
                </a:lnTo>
                <a:lnTo>
                  <a:pt x="2230316" y="338034"/>
                </a:lnTo>
                <a:lnTo>
                  <a:pt x="2256119" y="345775"/>
                </a:lnTo>
                <a:lnTo>
                  <a:pt x="2281923" y="352656"/>
                </a:lnTo>
                <a:lnTo>
                  <a:pt x="2308587" y="359538"/>
                </a:lnTo>
                <a:lnTo>
                  <a:pt x="2333531" y="367279"/>
                </a:lnTo>
                <a:lnTo>
                  <a:pt x="2358474" y="375880"/>
                </a:lnTo>
                <a:lnTo>
                  <a:pt x="2381698" y="386202"/>
                </a:lnTo>
                <a:lnTo>
                  <a:pt x="2402342" y="399104"/>
                </a:lnTo>
                <a:lnTo>
                  <a:pt x="2421265" y="414587"/>
                </a:lnTo>
                <a:lnTo>
                  <a:pt x="2436746" y="433510"/>
                </a:lnTo>
                <a:lnTo>
                  <a:pt x="2449649" y="454153"/>
                </a:lnTo>
                <a:lnTo>
                  <a:pt x="2459970" y="477376"/>
                </a:lnTo>
                <a:lnTo>
                  <a:pt x="2468571" y="502321"/>
                </a:lnTo>
                <a:lnTo>
                  <a:pt x="2476312" y="527264"/>
                </a:lnTo>
                <a:lnTo>
                  <a:pt x="2483194" y="553929"/>
                </a:lnTo>
                <a:lnTo>
                  <a:pt x="2490075" y="579732"/>
                </a:lnTo>
                <a:lnTo>
                  <a:pt x="2497816" y="605537"/>
                </a:lnTo>
                <a:lnTo>
                  <a:pt x="2506417" y="630482"/>
                </a:lnTo>
                <a:lnTo>
                  <a:pt x="2516738" y="653705"/>
                </a:lnTo>
                <a:lnTo>
                  <a:pt x="2528781" y="675208"/>
                </a:lnTo>
                <a:lnTo>
                  <a:pt x="2544263" y="694132"/>
                </a:lnTo>
                <a:lnTo>
                  <a:pt x="2561465" y="713915"/>
                </a:lnTo>
                <a:lnTo>
                  <a:pt x="2581248" y="731117"/>
                </a:lnTo>
                <a:lnTo>
                  <a:pt x="2601892" y="747460"/>
                </a:lnTo>
                <a:lnTo>
                  <a:pt x="2624255" y="763802"/>
                </a:lnTo>
                <a:lnTo>
                  <a:pt x="2645758" y="780145"/>
                </a:lnTo>
                <a:lnTo>
                  <a:pt x="2666401" y="796488"/>
                </a:lnTo>
                <a:lnTo>
                  <a:pt x="2686183" y="814551"/>
                </a:lnTo>
                <a:lnTo>
                  <a:pt x="2703387" y="832614"/>
                </a:lnTo>
                <a:lnTo>
                  <a:pt x="2718009" y="853257"/>
                </a:lnTo>
                <a:lnTo>
                  <a:pt x="2729191" y="874760"/>
                </a:lnTo>
                <a:lnTo>
                  <a:pt x="2736932" y="900565"/>
                </a:lnTo>
                <a:lnTo>
                  <a:pt x="2740372" y="927229"/>
                </a:lnTo>
                <a:lnTo>
                  <a:pt x="2741233" y="954754"/>
                </a:lnTo>
                <a:lnTo>
                  <a:pt x="2738652" y="983998"/>
                </a:lnTo>
                <a:lnTo>
                  <a:pt x="2735211" y="1013242"/>
                </a:lnTo>
                <a:lnTo>
                  <a:pt x="2730911" y="1042487"/>
                </a:lnTo>
                <a:lnTo>
                  <a:pt x="2727470" y="1071732"/>
                </a:lnTo>
                <a:lnTo>
                  <a:pt x="2725751" y="1100977"/>
                </a:lnTo>
                <a:lnTo>
                  <a:pt x="2725751" y="1129361"/>
                </a:lnTo>
                <a:lnTo>
                  <a:pt x="2729191" y="1156025"/>
                </a:lnTo>
                <a:lnTo>
                  <a:pt x="2736071" y="1182689"/>
                </a:lnTo>
                <a:lnTo>
                  <a:pt x="2746393" y="1207634"/>
                </a:lnTo>
                <a:lnTo>
                  <a:pt x="2760156" y="1233438"/>
                </a:lnTo>
                <a:lnTo>
                  <a:pt x="2773917" y="1259242"/>
                </a:lnTo>
                <a:lnTo>
                  <a:pt x="2789400" y="1285046"/>
                </a:lnTo>
                <a:lnTo>
                  <a:pt x="2804021" y="1309991"/>
                </a:lnTo>
                <a:lnTo>
                  <a:pt x="2816924" y="1336654"/>
                </a:lnTo>
                <a:lnTo>
                  <a:pt x="2827245" y="1362459"/>
                </a:lnTo>
                <a:lnTo>
                  <a:pt x="2834126" y="1389123"/>
                </a:lnTo>
                <a:lnTo>
                  <a:pt x="2836707" y="1416647"/>
                </a:lnTo>
                <a:lnTo>
                  <a:pt x="2834126" y="1444171"/>
                </a:lnTo>
                <a:lnTo>
                  <a:pt x="2827245" y="1470836"/>
                </a:lnTo>
                <a:lnTo>
                  <a:pt x="2816924" y="1496640"/>
                </a:lnTo>
                <a:lnTo>
                  <a:pt x="2804021" y="1523304"/>
                </a:lnTo>
                <a:lnTo>
                  <a:pt x="2789400" y="1548248"/>
                </a:lnTo>
                <a:lnTo>
                  <a:pt x="2773917" y="1574053"/>
                </a:lnTo>
                <a:lnTo>
                  <a:pt x="2760156" y="1599857"/>
                </a:lnTo>
                <a:lnTo>
                  <a:pt x="2746393" y="1625660"/>
                </a:lnTo>
                <a:lnTo>
                  <a:pt x="2736071" y="1650605"/>
                </a:lnTo>
                <a:lnTo>
                  <a:pt x="2729191" y="1677269"/>
                </a:lnTo>
                <a:lnTo>
                  <a:pt x="2725751" y="1703933"/>
                </a:lnTo>
                <a:lnTo>
                  <a:pt x="2725751" y="1732318"/>
                </a:lnTo>
                <a:lnTo>
                  <a:pt x="2727470" y="1761563"/>
                </a:lnTo>
                <a:lnTo>
                  <a:pt x="2730911" y="1790807"/>
                </a:lnTo>
                <a:lnTo>
                  <a:pt x="2735211" y="1820052"/>
                </a:lnTo>
                <a:lnTo>
                  <a:pt x="2738652" y="1849297"/>
                </a:lnTo>
                <a:lnTo>
                  <a:pt x="2741233" y="1878541"/>
                </a:lnTo>
                <a:lnTo>
                  <a:pt x="2740372" y="1906066"/>
                </a:lnTo>
                <a:lnTo>
                  <a:pt x="2736932" y="1932731"/>
                </a:lnTo>
                <a:lnTo>
                  <a:pt x="2729191" y="1958534"/>
                </a:lnTo>
                <a:lnTo>
                  <a:pt x="2718009" y="1980037"/>
                </a:lnTo>
                <a:lnTo>
                  <a:pt x="2703387" y="2000681"/>
                </a:lnTo>
                <a:lnTo>
                  <a:pt x="2686183" y="2018744"/>
                </a:lnTo>
                <a:lnTo>
                  <a:pt x="2666401" y="2036806"/>
                </a:lnTo>
                <a:lnTo>
                  <a:pt x="2645758" y="2053150"/>
                </a:lnTo>
                <a:lnTo>
                  <a:pt x="2624255" y="2069492"/>
                </a:lnTo>
                <a:lnTo>
                  <a:pt x="2601892" y="2085835"/>
                </a:lnTo>
                <a:lnTo>
                  <a:pt x="2581248" y="2102177"/>
                </a:lnTo>
                <a:lnTo>
                  <a:pt x="2561465" y="2119379"/>
                </a:lnTo>
                <a:lnTo>
                  <a:pt x="2544263" y="2139163"/>
                </a:lnTo>
                <a:lnTo>
                  <a:pt x="2528781" y="2158086"/>
                </a:lnTo>
                <a:lnTo>
                  <a:pt x="2516738" y="2179589"/>
                </a:lnTo>
                <a:lnTo>
                  <a:pt x="2506417" y="2202813"/>
                </a:lnTo>
                <a:lnTo>
                  <a:pt x="2497816" y="2227757"/>
                </a:lnTo>
                <a:lnTo>
                  <a:pt x="2490075" y="2253562"/>
                </a:lnTo>
                <a:lnTo>
                  <a:pt x="2483194" y="2279366"/>
                </a:lnTo>
                <a:lnTo>
                  <a:pt x="2476312" y="2306030"/>
                </a:lnTo>
                <a:lnTo>
                  <a:pt x="2468571" y="2330974"/>
                </a:lnTo>
                <a:lnTo>
                  <a:pt x="2459970" y="2355917"/>
                </a:lnTo>
                <a:lnTo>
                  <a:pt x="2449649" y="2379141"/>
                </a:lnTo>
                <a:lnTo>
                  <a:pt x="2436746" y="2399785"/>
                </a:lnTo>
                <a:lnTo>
                  <a:pt x="2421265" y="2418708"/>
                </a:lnTo>
                <a:lnTo>
                  <a:pt x="2402342" y="2434190"/>
                </a:lnTo>
                <a:lnTo>
                  <a:pt x="2381698" y="2447092"/>
                </a:lnTo>
                <a:lnTo>
                  <a:pt x="2358474" y="2457414"/>
                </a:lnTo>
                <a:lnTo>
                  <a:pt x="2333531" y="2466015"/>
                </a:lnTo>
                <a:lnTo>
                  <a:pt x="2308587" y="2473756"/>
                </a:lnTo>
                <a:lnTo>
                  <a:pt x="2281923" y="2480638"/>
                </a:lnTo>
                <a:lnTo>
                  <a:pt x="2256119" y="2487519"/>
                </a:lnTo>
                <a:lnTo>
                  <a:pt x="2230316" y="2495260"/>
                </a:lnTo>
                <a:lnTo>
                  <a:pt x="2205372" y="2503862"/>
                </a:lnTo>
                <a:lnTo>
                  <a:pt x="2182149" y="2514184"/>
                </a:lnTo>
                <a:lnTo>
                  <a:pt x="2160646" y="2526225"/>
                </a:lnTo>
                <a:lnTo>
                  <a:pt x="2141723" y="2541707"/>
                </a:lnTo>
                <a:lnTo>
                  <a:pt x="2121940" y="2558911"/>
                </a:lnTo>
                <a:lnTo>
                  <a:pt x="2104736" y="2578694"/>
                </a:lnTo>
                <a:lnTo>
                  <a:pt x="2088394" y="2599337"/>
                </a:lnTo>
                <a:lnTo>
                  <a:pt x="2072052" y="2620840"/>
                </a:lnTo>
                <a:lnTo>
                  <a:pt x="2055710" y="2642344"/>
                </a:lnTo>
                <a:lnTo>
                  <a:pt x="2039367" y="2662987"/>
                </a:lnTo>
                <a:lnTo>
                  <a:pt x="2021304" y="2682770"/>
                </a:lnTo>
                <a:lnTo>
                  <a:pt x="2003241" y="2699973"/>
                </a:lnTo>
                <a:lnTo>
                  <a:pt x="1982599" y="2714595"/>
                </a:lnTo>
                <a:lnTo>
                  <a:pt x="1961095" y="2725777"/>
                </a:lnTo>
                <a:lnTo>
                  <a:pt x="1935291" y="2733518"/>
                </a:lnTo>
                <a:lnTo>
                  <a:pt x="1908627" y="2736959"/>
                </a:lnTo>
                <a:lnTo>
                  <a:pt x="1881104" y="2737819"/>
                </a:lnTo>
                <a:lnTo>
                  <a:pt x="1851859" y="2735238"/>
                </a:lnTo>
                <a:lnTo>
                  <a:pt x="1822615" y="2731799"/>
                </a:lnTo>
                <a:lnTo>
                  <a:pt x="1793370" y="2727497"/>
                </a:lnTo>
                <a:lnTo>
                  <a:pt x="1764126" y="2724057"/>
                </a:lnTo>
                <a:lnTo>
                  <a:pt x="1734881" y="2722336"/>
                </a:lnTo>
                <a:lnTo>
                  <a:pt x="1706497" y="2722336"/>
                </a:lnTo>
                <a:lnTo>
                  <a:pt x="1679833" y="2725777"/>
                </a:lnTo>
                <a:lnTo>
                  <a:pt x="1652309" y="2732658"/>
                </a:lnTo>
                <a:lnTo>
                  <a:pt x="1627365" y="2742980"/>
                </a:lnTo>
                <a:lnTo>
                  <a:pt x="1601561" y="2756742"/>
                </a:lnTo>
                <a:lnTo>
                  <a:pt x="1575758" y="2770505"/>
                </a:lnTo>
                <a:lnTo>
                  <a:pt x="1549954" y="2785987"/>
                </a:lnTo>
                <a:lnTo>
                  <a:pt x="1525009" y="2800609"/>
                </a:lnTo>
                <a:lnTo>
                  <a:pt x="1498346" y="2813511"/>
                </a:lnTo>
                <a:lnTo>
                  <a:pt x="1472542" y="2823833"/>
                </a:lnTo>
                <a:lnTo>
                  <a:pt x="1445877" y="2830714"/>
                </a:lnTo>
                <a:lnTo>
                  <a:pt x="1418354" y="2833294"/>
                </a:lnTo>
                <a:lnTo>
                  <a:pt x="1390830" y="2830714"/>
                </a:lnTo>
                <a:lnTo>
                  <a:pt x="1364166" y="2823833"/>
                </a:lnTo>
                <a:lnTo>
                  <a:pt x="1338362" y="2813511"/>
                </a:lnTo>
                <a:lnTo>
                  <a:pt x="1311698" y="2800609"/>
                </a:lnTo>
                <a:lnTo>
                  <a:pt x="1286754" y="2785987"/>
                </a:lnTo>
                <a:lnTo>
                  <a:pt x="1260950" y="2770505"/>
                </a:lnTo>
                <a:lnTo>
                  <a:pt x="1235146" y="2756742"/>
                </a:lnTo>
                <a:lnTo>
                  <a:pt x="1209343" y="2742980"/>
                </a:lnTo>
                <a:lnTo>
                  <a:pt x="1183539" y="2732658"/>
                </a:lnTo>
                <a:lnTo>
                  <a:pt x="1156875" y="2725777"/>
                </a:lnTo>
                <a:lnTo>
                  <a:pt x="1130211" y="2722336"/>
                </a:lnTo>
                <a:lnTo>
                  <a:pt x="1101826" y="2722336"/>
                </a:lnTo>
                <a:lnTo>
                  <a:pt x="1072582" y="2724057"/>
                </a:lnTo>
                <a:lnTo>
                  <a:pt x="1043338" y="2727497"/>
                </a:lnTo>
                <a:lnTo>
                  <a:pt x="1014093" y="2731799"/>
                </a:lnTo>
                <a:lnTo>
                  <a:pt x="984848" y="2735238"/>
                </a:lnTo>
                <a:lnTo>
                  <a:pt x="955604" y="2737819"/>
                </a:lnTo>
                <a:lnTo>
                  <a:pt x="928081" y="2736959"/>
                </a:lnTo>
                <a:lnTo>
                  <a:pt x="901416" y="2733518"/>
                </a:lnTo>
                <a:lnTo>
                  <a:pt x="875612" y="2725777"/>
                </a:lnTo>
                <a:lnTo>
                  <a:pt x="854109" y="2714595"/>
                </a:lnTo>
                <a:lnTo>
                  <a:pt x="833465" y="2699973"/>
                </a:lnTo>
                <a:lnTo>
                  <a:pt x="815403" y="2682770"/>
                </a:lnTo>
                <a:lnTo>
                  <a:pt x="797340" y="2662987"/>
                </a:lnTo>
                <a:lnTo>
                  <a:pt x="780998" y="2642344"/>
                </a:lnTo>
                <a:lnTo>
                  <a:pt x="764655" y="2620840"/>
                </a:lnTo>
                <a:lnTo>
                  <a:pt x="748313" y="2599337"/>
                </a:lnTo>
                <a:lnTo>
                  <a:pt x="731971" y="2578694"/>
                </a:lnTo>
                <a:lnTo>
                  <a:pt x="714768" y="2558911"/>
                </a:lnTo>
                <a:lnTo>
                  <a:pt x="694985" y="2541707"/>
                </a:lnTo>
                <a:lnTo>
                  <a:pt x="676062" y="2526225"/>
                </a:lnTo>
                <a:lnTo>
                  <a:pt x="654559" y="2514184"/>
                </a:lnTo>
                <a:lnTo>
                  <a:pt x="631335" y="2503862"/>
                </a:lnTo>
                <a:lnTo>
                  <a:pt x="606392" y="2495260"/>
                </a:lnTo>
                <a:lnTo>
                  <a:pt x="580587" y="2487519"/>
                </a:lnTo>
                <a:lnTo>
                  <a:pt x="554784" y="2480638"/>
                </a:lnTo>
                <a:lnTo>
                  <a:pt x="528120" y="2473756"/>
                </a:lnTo>
                <a:lnTo>
                  <a:pt x="503176" y="2466015"/>
                </a:lnTo>
                <a:lnTo>
                  <a:pt x="478232" y="2457414"/>
                </a:lnTo>
                <a:lnTo>
                  <a:pt x="455009" y="2447092"/>
                </a:lnTo>
                <a:lnTo>
                  <a:pt x="434366" y="2434190"/>
                </a:lnTo>
                <a:lnTo>
                  <a:pt x="415442" y="2418708"/>
                </a:lnTo>
                <a:lnTo>
                  <a:pt x="399961" y="2399785"/>
                </a:lnTo>
                <a:lnTo>
                  <a:pt x="387059" y="2379141"/>
                </a:lnTo>
                <a:lnTo>
                  <a:pt x="376737" y="2355917"/>
                </a:lnTo>
                <a:lnTo>
                  <a:pt x="368136" y="2330974"/>
                </a:lnTo>
                <a:lnTo>
                  <a:pt x="360395" y="2306030"/>
                </a:lnTo>
                <a:lnTo>
                  <a:pt x="353514" y="2279366"/>
                </a:lnTo>
                <a:lnTo>
                  <a:pt x="346633" y="2253562"/>
                </a:lnTo>
                <a:lnTo>
                  <a:pt x="338891" y="2227757"/>
                </a:lnTo>
                <a:lnTo>
                  <a:pt x="330290" y="2202813"/>
                </a:lnTo>
                <a:lnTo>
                  <a:pt x="319968" y="2179589"/>
                </a:lnTo>
                <a:lnTo>
                  <a:pt x="307927" y="2158086"/>
                </a:lnTo>
                <a:lnTo>
                  <a:pt x="292445" y="2139163"/>
                </a:lnTo>
                <a:lnTo>
                  <a:pt x="275242" y="2119379"/>
                </a:lnTo>
                <a:lnTo>
                  <a:pt x="255459" y="2102177"/>
                </a:lnTo>
                <a:lnTo>
                  <a:pt x="233955" y="2085835"/>
                </a:lnTo>
                <a:lnTo>
                  <a:pt x="212452" y="2069492"/>
                </a:lnTo>
                <a:lnTo>
                  <a:pt x="190950" y="2053150"/>
                </a:lnTo>
                <a:lnTo>
                  <a:pt x="170306" y="2036806"/>
                </a:lnTo>
                <a:lnTo>
                  <a:pt x="150523" y="2018744"/>
                </a:lnTo>
                <a:lnTo>
                  <a:pt x="133321" y="2000681"/>
                </a:lnTo>
                <a:lnTo>
                  <a:pt x="118699" y="1980037"/>
                </a:lnTo>
                <a:lnTo>
                  <a:pt x="107517" y="1958534"/>
                </a:lnTo>
                <a:lnTo>
                  <a:pt x="99776" y="1932731"/>
                </a:lnTo>
                <a:lnTo>
                  <a:pt x="96335" y="1906066"/>
                </a:lnTo>
                <a:lnTo>
                  <a:pt x="95474" y="1878541"/>
                </a:lnTo>
                <a:lnTo>
                  <a:pt x="98055" y="1849297"/>
                </a:lnTo>
                <a:lnTo>
                  <a:pt x="101496" y="1820052"/>
                </a:lnTo>
                <a:lnTo>
                  <a:pt x="105796" y="1790807"/>
                </a:lnTo>
                <a:lnTo>
                  <a:pt x="109237" y="1761563"/>
                </a:lnTo>
                <a:lnTo>
                  <a:pt x="110958" y="1732318"/>
                </a:lnTo>
                <a:lnTo>
                  <a:pt x="110958" y="1703933"/>
                </a:lnTo>
                <a:lnTo>
                  <a:pt x="107517" y="1677269"/>
                </a:lnTo>
                <a:lnTo>
                  <a:pt x="100636" y="1650605"/>
                </a:lnTo>
                <a:lnTo>
                  <a:pt x="90314" y="1625660"/>
                </a:lnTo>
                <a:lnTo>
                  <a:pt x="77412" y="1599857"/>
                </a:lnTo>
                <a:lnTo>
                  <a:pt x="62790" y="1574053"/>
                </a:lnTo>
                <a:lnTo>
                  <a:pt x="47308" y="1548248"/>
                </a:lnTo>
                <a:lnTo>
                  <a:pt x="32686" y="1523304"/>
                </a:lnTo>
                <a:lnTo>
                  <a:pt x="19783" y="1496640"/>
                </a:lnTo>
                <a:lnTo>
                  <a:pt x="9462" y="1470836"/>
                </a:lnTo>
                <a:lnTo>
                  <a:pt x="2581" y="1444171"/>
                </a:lnTo>
                <a:lnTo>
                  <a:pt x="0" y="1416647"/>
                </a:lnTo>
                <a:lnTo>
                  <a:pt x="2581" y="1389123"/>
                </a:lnTo>
                <a:lnTo>
                  <a:pt x="9462" y="1362459"/>
                </a:lnTo>
                <a:lnTo>
                  <a:pt x="19783" y="1336654"/>
                </a:lnTo>
                <a:lnTo>
                  <a:pt x="32686" y="1309991"/>
                </a:lnTo>
                <a:lnTo>
                  <a:pt x="47308" y="1285046"/>
                </a:lnTo>
                <a:lnTo>
                  <a:pt x="62790" y="1259242"/>
                </a:lnTo>
                <a:lnTo>
                  <a:pt x="77412" y="1233438"/>
                </a:lnTo>
                <a:lnTo>
                  <a:pt x="90314" y="1207634"/>
                </a:lnTo>
                <a:lnTo>
                  <a:pt x="100636" y="1182689"/>
                </a:lnTo>
                <a:lnTo>
                  <a:pt x="107517" y="1156025"/>
                </a:lnTo>
                <a:lnTo>
                  <a:pt x="110958" y="1129361"/>
                </a:lnTo>
                <a:lnTo>
                  <a:pt x="110958" y="1100977"/>
                </a:lnTo>
                <a:lnTo>
                  <a:pt x="109237" y="1071732"/>
                </a:lnTo>
                <a:lnTo>
                  <a:pt x="105796" y="1042487"/>
                </a:lnTo>
                <a:lnTo>
                  <a:pt x="101496" y="1013242"/>
                </a:lnTo>
                <a:lnTo>
                  <a:pt x="98055" y="983998"/>
                </a:lnTo>
                <a:lnTo>
                  <a:pt x="95474" y="954754"/>
                </a:lnTo>
                <a:lnTo>
                  <a:pt x="96335" y="927229"/>
                </a:lnTo>
                <a:lnTo>
                  <a:pt x="99776" y="900565"/>
                </a:lnTo>
                <a:lnTo>
                  <a:pt x="107517" y="874760"/>
                </a:lnTo>
                <a:lnTo>
                  <a:pt x="118699" y="853257"/>
                </a:lnTo>
                <a:lnTo>
                  <a:pt x="133321" y="832614"/>
                </a:lnTo>
                <a:lnTo>
                  <a:pt x="150523" y="814551"/>
                </a:lnTo>
                <a:lnTo>
                  <a:pt x="170306" y="796488"/>
                </a:lnTo>
                <a:lnTo>
                  <a:pt x="190950" y="780145"/>
                </a:lnTo>
                <a:lnTo>
                  <a:pt x="212452" y="763802"/>
                </a:lnTo>
                <a:lnTo>
                  <a:pt x="233955" y="747460"/>
                </a:lnTo>
                <a:lnTo>
                  <a:pt x="255459" y="731117"/>
                </a:lnTo>
                <a:lnTo>
                  <a:pt x="275242" y="713915"/>
                </a:lnTo>
                <a:lnTo>
                  <a:pt x="292445" y="694132"/>
                </a:lnTo>
                <a:lnTo>
                  <a:pt x="307927" y="675208"/>
                </a:lnTo>
                <a:lnTo>
                  <a:pt x="319968" y="653705"/>
                </a:lnTo>
                <a:lnTo>
                  <a:pt x="330290" y="630482"/>
                </a:lnTo>
                <a:lnTo>
                  <a:pt x="338891" y="605537"/>
                </a:lnTo>
                <a:lnTo>
                  <a:pt x="346633" y="579732"/>
                </a:lnTo>
                <a:lnTo>
                  <a:pt x="353514" y="553929"/>
                </a:lnTo>
                <a:lnTo>
                  <a:pt x="360395" y="527264"/>
                </a:lnTo>
                <a:lnTo>
                  <a:pt x="368136" y="502321"/>
                </a:lnTo>
                <a:lnTo>
                  <a:pt x="376737" y="477376"/>
                </a:lnTo>
                <a:lnTo>
                  <a:pt x="387059" y="454153"/>
                </a:lnTo>
                <a:lnTo>
                  <a:pt x="399961" y="433510"/>
                </a:lnTo>
                <a:lnTo>
                  <a:pt x="415442" y="414587"/>
                </a:lnTo>
                <a:lnTo>
                  <a:pt x="434366" y="399104"/>
                </a:lnTo>
                <a:lnTo>
                  <a:pt x="455009" y="386202"/>
                </a:lnTo>
                <a:lnTo>
                  <a:pt x="478232" y="375880"/>
                </a:lnTo>
                <a:lnTo>
                  <a:pt x="503176" y="367279"/>
                </a:lnTo>
                <a:lnTo>
                  <a:pt x="528120" y="359538"/>
                </a:lnTo>
                <a:lnTo>
                  <a:pt x="554784" y="352656"/>
                </a:lnTo>
                <a:lnTo>
                  <a:pt x="580587" y="345775"/>
                </a:lnTo>
                <a:lnTo>
                  <a:pt x="606392" y="338034"/>
                </a:lnTo>
                <a:lnTo>
                  <a:pt x="631335" y="329433"/>
                </a:lnTo>
                <a:lnTo>
                  <a:pt x="654559" y="319111"/>
                </a:lnTo>
                <a:lnTo>
                  <a:pt x="676062" y="307070"/>
                </a:lnTo>
                <a:lnTo>
                  <a:pt x="694985" y="291587"/>
                </a:lnTo>
                <a:lnTo>
                  <a:pt x="714768" y="274384"/>
                </a:lnTo>
                <a:lnTo>
                  <a:pt x="731971" y="254601"/>
                </a:lnTo>
                <a:lnTo>
                  <a:pt x="748313" y="233957"/>
                </a:lnTo>
                <a:lnTo>
                  <a:pt x="764655" y="212454"/>
                </a:lnTo>
                <a:lnTo>
                  <a:pt x="780998" y="190950"/>
                </a:lnTo>
                <a:lnTo>
                  <a:pt x="797340" y="170307"/>
                </a:lnTo>
                <a:lnTo>
                  <a:pt x="815403" y="150524"/>
                </a:lnTo>
                <a:lnTo>
                  <a:pt x="833465" y="133322"/>
                </a:lnTo>
                <a:lnTo>
                  <a:pt x="854109" y="118699"/>
                </a:lnTo>
                <a:lnTo>
                  <a:pt x="875612" y="107517"/>
                </a:lnTo>
                <a:lnTo>
                  <a:pt x="901416" y="99776"/>
                </a:lnTo>
                <a:lnTo>
                  <a:pt x="928081" y="96335"/>
                </a:lnTo>
                <a:lnTo>
                  <a:pt x="955604" y="95475"/>
                </a:lnTo>
                <a:lnTo>
                  <a:pt x="984848" y="98056"/>
                </a:lnTo>
                <a:lnTo>
                  <a:pt x="1014093" y="101497"/>
                </a:lnTo>
                <a:lnTo>
                  <a:pt x="1043338" y="105797"/>
                </a:lnTo>
                <a:lnTo>
                  <a:pt x="1072582" y="109238"/>
                </a:lnTo>
                <a:lnTo>
                  <a:pt x="1101826" y="110958"/>
                </a:lnTo>
                <a:lnTo>
                  <a:pt x="1130211" y="110958"/>
                </a:lnTo>
                <a:lnTo>
                  <a:pt x="1156875" y="107517"/>
                </a:lnTo>
                <a:lnTo>
                  <a:pt x="1183539" y="100636"/>
                </a:lnTo>
                <a:lnTo>
                  <a:pt x="1209343" y="90315"/>
                </a:lnTo>
                <a:lnTo>
                  <a:pt x="1235146" y="76552"/>
                </a:lnTo>
                <a:lnTo>
                  <a:pt x="1260950" y="62790"/>
                </a:lnTo>
                <a:lnTo>
                  <a:pt x="1286754" y="47308"/>
                </a:lnTo>
                <a:lnTo>
                  <a:pt x="1311698" y="32685"/>
                </a:lnTo>
                <a:lnTo>
                  <a:pt x="1338362" y="19783"/>
                </a:lnTo>
                <a:lnTo>
                  <a:pt x="1364166" y="9461"/>
                </a:lnTo>
                <a:lnTo>
                  <a:pt x="1390830" y="258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4C13FBD-BED1-48B9-95E8-3A95C0C6D6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75" t="23125" r="17656" b="22096"/>
          <a:stretch/>
        </p:blipFill>
        <p:spPr>
          <a:xfrm>
            <a:off x="6375599" y="3192681"/>
            <a:ext cx="1862210" cy="1620003"/>
          </a:xfrm>
          <a:prstGeom prst="rect">
            <a:avLst/>
          </a:prstGeom>
        </p:spPr>
      </p:pic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2CD9FC7B-396F-44B5-BF35-8E5C14B86A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36992" y="0"/>
            <a:ext cx="4255008" cy="3750846"/>
          </a:xfrm>
          <a:custGeom>
            <a:avLst/>
            <a:gdLst>
              <a:gd name="connsiteX0" fmla="*/ 439240 w 4255008"/>
              <a:gd name="connsiteY0" fmla="*/ 0 h 3750846"/>
              <a:gd name="connsiteX1" fmla="*/ 4255008 w 4255008"/>
              <a:gd name="connsiteY1" fmla="*/ 0 h 3750846"/>
              <a:gd name="connsiteX2" fmla="*/ 4255008 w 4255008"/>
              <a:gd name="connsiteY2" fmla="*/ 3063810 h 3750846"/>
              <a:gd name="connsiteX3" fmla="*/ 4223768 w 4255008"/>
              <a:gd name="connsiteY3" fmla="*/ 3077695 h 3750846"/>
              <a:gd name="connsiteX4" fmla="*/ 4179098 w 4255008"/>
              <a:gd name="connsiteY4" fmla="*/ 3093099 h 3750846"/>
              <a:gd name="connsiteX5" fmla="*/ 4134427 w 4255008"/>
              <a:gd name="connsiteY5" fmla="*/ 3106962 h 3750846"/>
              <a:gd name="connsiteX6" fmla="*/ 4086674 w 4255008"/>
              <a:gd name="connsiteY6" fmla="*/ 3119286 h 3750846"/>
              <a:gd name="connsiteX7" fmla="*/ 4040462 w 4255008"/>
              <a:gd name="connsiteY7" fmla="*/ 3131609 h 3750846"/>
              <a:gd name="connsiteX8" fmla="*/ 3994250 w 4255008"/>
              <a:gd name="connsiteY8" fmla="*/ 3145473 h 3750846"/>
              <a:gd name="connsiteX9" fmla="*/ 3949580 w 4255008"/>
              <a:gd name="connsiteY9" fmla="*/ 3160876 h 3750846"/>
              <a:gd name="connsiteX10" fmla="*/ 3907988 w 4255008"/>
              <a:gd name="connsiteY10" fmla="*/ 3179362 h 3750846"/>
              <a:gd name="connsiteX11" fmla="*/ 3869480 w 4255008"/>
              <a:gd name="connsiteY11" fmla="*/ 3200926 h 3750846"/>
              <a:gd name="connsiteX12" fmla="*/ 3835590 w 4255008"/>
              <a:gd name="connsiteY12" fmla="*/ 3228653 h 3750846"/>
              <a:gd name="connsiteX13" fmla="*/ 3800161 w 4255008"/>
              <a:gd name="connsiteY13" fmla="*/ 3259462 h 3750846"/>
              <a:gd name="connsiteX14" fmla="*/ 3769352 w 4255008"/>
              <a:gd name="connsiteY14" fmla="*/ 3294890 h 3750846"/>
              <a:gd name="connsiteX15" fmla="*/ 3740085 w 4255008"/>
              <a:gd name="connsiteY15" fmla="*/ 3331860 h 3750846"/>
              <a:gd name="connsiteX16" fmla="*/ 3710817 w 4255008"/>
              <a:gd name="connsiteY16" fmla="*/ 3370369 h 3750846"/>
              <a:gd name="connsiteX17" fmla="*/ 3681550 w 4255008"/>
              <a:gd name="connsiteY17" fmla="*/ 3408879 h 3750846"/>
              <a:gd name="connsiteX18" fmla="*/ 3652283 w 4255008"/>
              <a:gd name="connsiteY18" fmla="*/ 3445849 h 3750846"/>
              <a:gd name="connsiteX19" fmla="*/ 3619934 w 4255008"/>
              <a:gd name="connsiteY19" fmla="*/ 3481278 h 3750846"/>
              <a:gd name="connsiteX20" fmla="*/ 3587585 w 4255008"/>
              <a:gd name="connsiteY20" fmla="*/ 3512085 h 3750846"/>
              <a:gd name="connsiteX21" fmla="*/ 3550617 w 4255008"/>
              <a:gd name="connsiteY21" fmla="*/ 3538272 h 3750846"/>
              <a:gd name="connsiteX22" fmla="*/ 3512107 w 4255008"/>
              <a:gd name="connsiteY22" fmla="*/ 3558298 h 3750846"/>
              <a:gd name="connsiteX23" fmla="*/ 3465894 w 4255008"/>
              <a:gd name="connsiteY23" fmla="*/ 3572162 h 3750846"/>
              <a:gd name="connsiteX24" fmla="*/ 3418141 w 4255008"/>
              <a:gd name="connsiteY24" fmla="*/ 3578323 h 3750846"/>
              <a:gd name="connsiteX25" fmla="*/ 3368850 w 4255008"/>
              <a:gd name="connsiteY25" fmla="*/ 3579863 h 3750846"/>
              <a:gd name="connsiteX26" fmla="*/ 3316475 w 4255008"/>
              <a:gd name="connsiteY26" fmla="*/ 3575242 h 3750846"/>
              <a:gd name="connsiteX27" fmla="*/ 3264102 w 4255008"/>
              <a:gd name="connsiteY27" fmla="*/ 3569081 h 3750846"/>
              <a:gd name="connsiteX28" fmla="*/ 3211728 w 4255008"/>
              <a:gd name="connsiteY28" fmla="*/ 3561378 h 3750846"/>
              <a:gd name="connsiteX29" fmla="*/ 3159355 w 4255008"/>
              <a:gd name="connsiteY29" fmla="*/ 3555218 h 3750846"/>
              <a:gd name="connsiteX30" fmla="*/ 3106981 w 4255008"/>
              <a:gd name="connsiteY30" fmla="*/ 3552136 h 3750846"/>
              <a:gd name="connsiteX31" fmla="*/ 3056148 w 4255008"/>
              <a:gd name="connsiteY31" fmla="*/ 3552136 h 3750846"/>
              <a:gd name="connsiteX32" fmla="*/ 3008397 w 4255008"/>
              <a:gd name="connsiteY32" fmla="*/ 3558298 h 3750846"/>
              <a:gd name="connsiteX33" fmla="*/ 2959104 w 4255008"/>
              <a:gd name="connsiteY33" fmla="*/ 3570622 h 3750846"/>
              <a:gd name="connsiteX34" fmla="*/ 2914432 w 4255008"/>
              <a:gd name="connsiteY34" fmla="*/ 3589105 h 3750846"/>
              <a:gd name="connsiteX35" fmla="*/ 2868220 w 4255008"/>
              <a:gd name="connsiteY35" fmla="*/ 3613752 h 3750846"/>
              <a:gd name="connsiteX36" fmla="*/ 2822009 w 4255008"/>
              <a:gd name="connsiteY36" fmla="*/ 3638399 h 3750846"/>
              <a:gd name="connsiteX37" fmla="*/ 2775796 w 4255008"/>
              <a:gd name="connsiteY37" fmla="*/ 3666125 h 3750846"/>
              <a:gd name="connsiteX38" fmla="*/ 2731124 w 4255008"/>
              <a:gd name="connsiteY38" fmla="*/ 3692312 h 3750846"/>
              <a:gd name="connsiteX39" fmla="*/ 2683373 w 4255008"/>
              <a:gd name="connsiteY39" fmla="*/ 3715417 h 3750846"/>
              <a:gd name="connsiteX40" fmla="*/ 2637160 w 4255008"/>
              <a:gd name="connsiteY40" fmla="*/ 3733903 h 3750846"/>
              <a:gd name="connsiteX41" fmla="*/ 2589408 w 4255008"/>
              <a:gd name="connsiteY41" fmla="*/ 3746226 h 3750846"/>
              <a:gd name="connsiteX42" fmla="*/ 2540116 w 4255008"/>
              <a:gd name="connsiteY42" fmla="*/ 3750846 h 3750846"/>
              <a:gd name="connsiteX43" fmla="*/ 2490824 w 4255008"/>
              <a:gd name="connsiteY43" fmla="*/ 3746226 h 3750846"/>
              <a:gd name="connsiteX44" fmla="*/ 2443071 w 4255008"/>
              <a:gd name="connsiteY44" fmla="*/ 3733903 h 3750846"/>
              <a:gd name="connsiteX45" fmla="*/ 2396860 w 4255008"/>
              <a:gd name="connsiteY45" fmla="*/ 3715417 h 3750846"/>
              <a:gd name="connsiteX46" fmla="*/ 2349108 w 4255008"/>
              <a:gd name="connsiteY46" fmla="*/ 3692312 h 3750846"/>
              <a:gd name="connsiteX47" fmla="*/ 2304434 w 4255008"/>
              <a:gd name="connsiteY47" fmla="*/ 3666125 h 3750846"/>
              <a:gd name="connsiteX48" fmla="*/ 2258223 w 4255008"/>
              <a:gd name="connsiteY48" fmla="*/ 3638399 h 3750846"/>
              <a:gd name="connsiteX49" fmla="*/ 2212010 w 4255008"/>
              <a:gd name="connsiteY49" fmla="*/ 3613752 h 3750846"/>
              <a:gd name="connsiteX50" fmla="*/ 2165800 w 4255008"/>
              <a:gd name="connsiteY50" fmla="*/ 3589105 h 3750846"/>
              <a:gd name="connsiteX51" fmla="*/ 2119589 w 4255008"/>
              <a:gd name="connsiteY51" fmla="*/ 3570622 h 3750846"/>
              <a:gd name="connsiteX52" fmla="*/ 2071836 w 4255008"/>
              <a:gd name="connsiteY52" fmla="*/ 3558298 h 3750846"/>
              <a:gd name="connsiteX53" fmla="*/ 2024083 w 4255008"/>
              <a:gd name="connsiteY53" fmla="*/ 3552136 h 3750846"/>
              <a:gd name="connsiteX54" fmla="*/ 1973249 w 4255008"/>
              <a:gd name="connsiteY54" fmla="*/ 3552136 h 3750846"/>
              <a:gd name="connsiteX55" fmla="*/ 1920876 w 4255008"/>
              <a:gd name="connsiteY55" fmla="*/ 3555218 h 3750846"/>
              <a:gd name="connsiteX56" fmla="*/ 1868503 w 4255008"/>
              <a:gd name="connsiteY56" fmla="*/ 3561378 h 3750846"/>
              <a:gd name="connsiteX57" fmla="*/ 1816128 w 4255008"/>
              <a:gd name="connsiteY57" fmla="*/ 3569081 h 3750846"/>
              <a:gd name="connsiteX58" fmla="*/ 1763754 w 4255008"/>
              <a:gd name="connsiteY58" fmla="*/ 3575242 h 3750846"/>
              <a:gd name="connsiteX59" fmla="*/ 1711381 w 4255008"/>
              <a:gd name="connsiteY59" fmla="*/ 3579863 h 3750846"/>
              <a:gd name="connsiteX60" fmla="*/ 1662090 w 4255008"/>
              <a:gd name="connsiteY60" fmla="*/ 3578323 h 3750846"/>
              <a:gd name="connsiteX61" fmla="*/ 1614338 w 4255008"/>
              <a:gd name="connsiteY61" fmla="*/ 3572162 h 3750846"/>
              <a:gd name="connsiteX62" fmla="*/ 1568125 w 4255008"/>
              <a:gd name="connsiteY62" fmla="*/ 3558298 h 3750846"/>
              <a:gd name="connsiteX63" fmla="*/ 1529616 w 4255008"/>
              <a:gd name="connsiteY63" fmla="*/ 3538272 h 3750846"/>
              <a:gd name="connsiteX64" fmla="*/ 1492645 w 4255008"/>
              <a:gd name="connsiteY64" fmla="*/ 3512085 h 3750846"/>
              <a:gd name="connsiteX65" fmla="*/ 1460298 w 4255008"/>
              <a:gd name="connsiteY65" fmla="*/ 3481278 h 3750846"/>
              <a:gd name="connsiteX66" fmla="*/ 1427948 w 4255008"/>
              <a:gd name="connsiteY66" fmla="*/ 3445849 h 3750846"/>
              <a:gd name="connsiteX67" fmla="*/ 1398681 w 4255008"/>
              <a:gd name="connsiteY67" fmla="*/ 3408879 h 3750846"/>
              <a:gd name="connsiteX68" fmla="*/ 1369414 w 4255008"/>
              <a:gd name="connsiteY68" fmla="*/ 3370369 h 3750846"/>
              <a:gd name="connsiteX69" fmla="*/ 1340147 w 4255008"/>
              <a:gd name="connsiteY69" fmla="*/ 3331860 h 3750846"/>
              <a:gd name="connsiteX70" fmla="*/ 1310879 w 4255008"/>
              <a:gd name="connsiteY70" fmla="*/ 3294890 h 3750846"/>
              <a:gd name="connsiteX71" fmla="*/ 1280071 w 4255008"/>
              <a:gd name="connsiteY71" fmla="*/ 3259462 h 3750846"/>
              <a:gd name="connsiteX72" fmla="*/ 1244641 w 4255008"/>
              <a:gd name="connsiteY72" fmla="*/ 3228653 h 3750846"/>
              <a:gd name="connsiteX73" fmla="*/ 1210752 w 4255008"/>
              <a:gd name="connsiteY73" fmla="*/ 3200926 h 3750846"/>
              <a:gd name="connsiteX74" fmla="*/ 1172242 w 4255008"/>
              <a:gd name="connsiteY74" fmla="*/ 3179362 h 3750846"/>
              <a:gd name="connsiteX75" fmla="*/ 1130652 w 4255008"/>
              <a:gd name="connsiteY75" fmla="*/ 3160876 h 3750846"/>
              <a:gd name="connsiteX76" fmla="*/ 1085981 w 4255008"/>
              <a:gd name="connsiteY76" fmla="*/ 3145473 h 3750846"/>
              <a:gd name="connsiteX77" fmla="*/ 1039768 w 4255008"/>
              <a:gd name="connsiteY77" fmla="*/ 3131609 h 3750846"/>
              <a:gd name="connsiteX78" fmla="*/ 993558 w 4255008"/>
              <a:gd name="connsiteY78" fmla="*/ 3119286 h 3750846"/>
              <a:gd name="connsiteX79" fmla="*/ 945805 w 4255008"/>
              <a:gd name="connsiteY79" fmla="*/ 3106962 h 3750846"/>
              <a:gd name="connsiteX80" fmla="*/ 901134 w 4255008"/>
              <a:gd name="connsiteY80" fmla="*/ 3093099 h 3750846"/>
              <a:gd name="connsiteX81" fmla="*/ 856461 w 4255008"/>
              <a:gd name="connsiteY81" fmla="*/ 3077695 h 3750846"/>
              <a:gd name="connsiteX82" fmla="*/ 814872 w 4255008"/>
              <a:gd name="connsiteY82" fmla="*/ 3059209 h 3750846"/>
              <a:gd name="connsiteX83" fmla="*/ 777901 w 4255008"/>
              <a:gd name="connsiteY83" fmla="*/ 3036103 h 3750846"/>
              <a:gd name="connsiteX84" fmla="*/ 744012 w 4255008"/>
              <a:gd name="connsiteY84" fmla="*/ 3008376 h 3750846"/>
              <a:gd name="connsiteX85" fmla="*/ 716286 w 4255008"/>
              <a:gd name="connsiteY85" fmla="*/ 2974489 h 3750846"/>
              <a:gd name="connsiteX86" fmla="*/ 693181 w 4255008"/>
              <a:gd name="connsiteY86" fmla="*/ 2937519 h 3750846"/>
              <a:gd name="connsiteX87" fmla="*/ 674695 w 4255008"/>
              <a:gd name="connsiteY87" fmla="*/ 2895927 h 3750846"/>
              <a:gd name="connsiteX88" fmla="*/ 659292 w 4255008"/>
              <a:gd name="connsiteY88" fmla="*/ 2851257 h 3750846"/>
              <a:gd name="connsiteX89" fmla="*/ 645428 w 4255008"/>
              <a:gd name="connsiteY89" fmla="*/ 2806586 h 3750846"/>
              <a:gd name="connsiteX90" fmla="*/ 633104 w 4255008"/>
              <a:gd name="connsiteY90" fmla="*/ 2758833 h 3750846"/>
              <a:gd name="connsiteX91" fmla="*/ 620780 w 4255008"/>
              <a:gd name="connsiteY91" fmla="*/ 2712622 h 3750846"/>
              <a:gd name="connsiteX92" fmla="*/ 606917 w 4255008"/>
              <a:gd name="connsiteY92" fmla="*/ 2666410 h 3750846"/>
              <a:gd name="connsiteX93" fmla="*/ 591513 w 4255008"/>
              <a:gd name="connsiteY93" fmla="*/ 2621737 h 3750846"/>
              <a:gd name="connsiteX94" fmla="*/ 573028 w 4255008"/>
              <a:gd name="connsiteY94" fmla="*/ 2580146 h 3750846"/>
              <a:gd name="connsiteX95" fmla="*/ 551462 w 4255008"/>
              <a:gd name="connsiteY95" fmla="*/ 2541637 h 3750846"/>
              <a:gd name="connsiteX96" fmla="*/ 523737 w 4255008"/>
              <a:gd name="connsiteY96" fmla="*/ 2507748 h 3750846"/>
              <a:gd name="connsiteX97" fmla="*/ 492928 w 4255008"/>
              <a:gd name="connsiteY97" fmla="*/ 2472319 h 3750846"/>
              <a:gd name="connsiteX98" fmla="*/ 457499 w 4255008"/>
              <a:gd name="connsiteY98" fmla="*/ 2441511 h 3750846"/>
              <a:gd name="connsiteX99" fmla="*/ 418988 w 4255008"/>
              <a:gd name="connsiteY99" fmla="*/ 2412245 h 3750846"/>
              <a:gd name="connsiteX100" fmla="*/ 380479 w 4255008"/>
              <a:gd name="connsiteY100" fmla="*/ 2382977 h 3750846"/>
              <a:gd name="connsiteX101" fmla="*/ 341969 w 4255008"/>
              <a:gd name="connsiteY101" fmla="*/ 2353710 h 3750846"/>
              <a:gd name="connsiteX102" fmla="*/ 304999 w 4255008"/>
              <a:gd name="connsiteY102" fmla="*/ 2324441 h 3750846"/>
              <a:gd name="connsiteX103" fmla="*/ 269570 w 4255008"/>
              <a:gd name="connsiteY103" fmla="*/ 2292094 h 3750846"/>
              <a:gd name="connsiteX104" fmla="*/ 238762 w 4255008"/>
              <a:gd name="connsiteY104" fmla="*/ 2259746 h 3750846"/>
              <a:gd name="connsiteX105" fmla="*/ 212576 w 4255008"/>
              <a:gd name="connsiteY105" fmla="*/ 2222776 h 3750846"/>
              <a:gd name="connsiteX106" fmla="*/ 192552 w 4255008"/>
              <a:gd name="connsiteY106" fmla="*/ 2184267 h 3750846"/>
              <a:gd name="connsiteX107" fmla="*/ 178688 w 4255008"/>
              <a:gd name="connsiteY107" fmla="*/ 2138056 h 3750846"/>
              <a:gd name="connsiteX108" fmla="*/ 172526 w 4255008"/>
              <a:gd name="connsiteY108" fmla="*/ 2090303 h 3750846"/>
              <a:gd name="connsiteX109" fmla="*/ 170984 w 4255008"/>
              <a:gd name="connsiteY109" fmla="*/ 2041008 h 3750846"/>
              <a:gd name="connsiteX110" fmla="*/ 175606 w 4255008"/>
              <a:gd name="connsiteY110" fmla="*/ 1988636 h 3750846"/>
              <a:gd name="connsiteX111" fmla="*/ 181768 w 4255008"/>
              <a:gd name="connsiteY111" fmla="*/ 1936263 h 3750846"/>
              <a:gd name="connsiteX112" fmla="*/ 189469 w 4255008"/>
              <a:gd name="connsiteY112" fmla="*/ 1883889 h 3750846"/>
              <a:gd name="connsiteX113" fmla="*/ 195632 w 4255008"/>
              <a:gd name="connsiteY113" fmla="*/ 1831516 h 3750846"/>
              <a:gd name="connsiteX114" fmla="*/ 198713 w 4255008"/>
              <a:gd name="connsiteY114" fmla="*/ 1779143 h 3750846"/>
              <a:gd name="connsiteX115" fmla="*/ 198713 w 4255008"/>
              <a:gd name="connsiteY115" fmla="*/ 1728309 h 3750846"/>
              <a:gd name="connsiteX116" fmla="*/ 192552 w 4255008"/>
              <a:gd name="connsiteY116" fmla="*/ 1680558 h 3750846"/>
              <a:gd name="connsiteX117" fmla="*/ 180228 w 4255008"/>
              <a:gd name="connsiteY117" fmla="*/ 1632805 h 3750846"/>
              <a:gd name="connsiteX118" fmla="*/ 161743 w 4255008"/>
              <a:gd name="connsiteY118" fmla="*/ 1588133 h 3750846"/>
              <a:gd name="connsiteX119" fmla="*/ 138637 w 4255008"/>
              <a:gd name="connsiteY119" fmla="*/ 1541921 h 3750846"/>
              <a:gd name="connsiteX120" fmla="*/ 112449 w 4255008"/>
              <a:gd name="connsiteY120" fmla="*/ 1495711 h 3750846"/>
              <a:gd name="connsiteX121" fmla="*/ 84724 w 4255008"/>
              <a:gd name="connsiteY121" fmla="*/ 1449498 h 3750846"/>
              <a:gd name="connsiteX122" fmla="*/ 58536 w 4255008"/>
              <a:gd name="connsiteY122" fmla="*/ 1404826 h 3750846"/>
              <a:gd name="connsiteX123" fmla="*/ 35429 w 4255008"/>
              <a:gd name="connsiteY123" fmla="*/ 1357075 h 3750846"/>
              <a:gd name="connsiteX124" fmla="*/ 16946 w 4255008"/>
              <a:gd name="connsiteY124" fmla="*/ 1310862 h 3750846"/>
              <a:gd name="connsiteX125" fmla="*/ 4623 w 4255008"/>
              <a:gd name="connsiteY125" fmla="*/ 1263110 h 3750846"/>
              <a:gd name="connsiteX126" fmla="*/ 0 w 4255008"/>
              <a:gd name="connsiteY126" fmla="*/ 1213817 h 3750846"/>
              <a:gd name="connsiteX127" fmla="*/ 4623 w 4255008"/>
              <a:gd name="connsiteY127" fmla="*/ 1164526 h 3750846"/>
              <a:gd name="connsiteX128" fmla="*/ 16946 w 4255008"/>
              <a:gd name="connsiteY128" fmla="*/ 1116774 h 3750846"/>
              <a:gd name="connsiteX129" fmla="*/ 35429 w 4255008"/>
              <a:gd name="connsiteY129" fmla="*/ 1070561 h 3750846"/>
              <a:gd name="connsiteX130" fmla="*/ 58536 w 4255008"/>
              <a:gd name="connsiteY130" fmla="*/ 1022810 h 3750846"/>
              <a:gd name="connsiteX131" fmla="*/ 84724 w 4255008"/>
              <a:gd name="connsiteY131" fmla="*/ 978137 h 3750846"/>
              <a:gd name="connsiteX132" fmla="*/ 112449 w 4255008"/>
              <a:gd name="connsiteY132" fmla="*/ 931927 h 3750846"/>
              <a:gd name="connsiteX133" fmla="*/ 138637 w 4255008"/>
              <a:gd name="connsiteY133" fmla="*/ 885714 h 3750846"/>
              <a:gd name="connsiteX134" fmla="*/ 161743 w 4255008"/>
              <a:gd name="connsiteY134" fmla="*/ 839503 h 3750846"/>
              <a:gd name="connsiteX135" fmla="*/ 180228 w 4255008"/>
              <a:gd name="connsiteY135" fmla="*/ 794830 h 3750846"/>
              <a:gd name="connsiteX136" fmla="*/ 192552 w 4255008"/>
              <a:gd name="connsiteY136" fmla="*/ 747078 h 3750846"/>
              <a:gd name="connsiteX137" fmla="*/ 198713 w 4255008"/>
              <a:gd name="connsiteY137" fmla="*/ 699327 h 3750846"/>
              <a:gd name="connsiteX138" fmla="*/ 198713 w 4255008"/>
              <a:gd name="connsiteY138" fmla="*/ 648494 h 3750846"/>
              <a:gd name="connsiteX139" fmla="*/ 195632 w 4255008"/>
              <a:gd name="connsiteY139" fmla="*/ 596120 h 3750846"/>
              <a:gd name="connsiteX140" fmla="*/ 189469 w 4255008"/>
              <a:gd name="connsiteY140" fmla="*/ 543747 h 3750846"/>
              <a:gd name="connsiteX141" fmla="*/ 181768 w 4255008"/>
              <a:gd name="connsiteY141" fmla="*/ 491372 h 3750846"/>
              <a:gd name="connsiteX142" fmla="*/ 175606 w 4255008"/>
              <a:gd name="connsiteY142" fmla="*/ 438999 h 3750846"/>
              <a:gd name="connsiteX143" fmla="*/ 170984 w 4255008"/>
              <a:gd name="connsiteY143" fmla="*/ 386627 h 3750846"/>
              <a:gd name="connsiteX144" fmla="*/ 172526 w 4255008"/>
              <a:gd name="connsiteY144" fmla="*/ 337334 h 3750846"/>
              <a:gd name="connsiteX145" fmla="*/ 178688 w 4255008"/>
              <a:gd name="connsiteY145" fmla="*/ 289582 h 3750846"/>
              <a:gd name="connsiteX146" fmla="*/ 192552 w 4255008"/>
              <a:gd name="connsiteY146" fmla="*/ 243369 h 3750846"/>
              <a:gd name="connsiteX147" fmla="*/ 212576 w 4255008"/>
              <a:gd name="connsiteY147" fmla="*/ 204861 h 3750846"/>
              <a:gd name="connsiteX148" fmla="*/ 238762 w 4255008"/>
              <a:gd name="connsiteY148" fmla="*/ 167891 h 3750846"/>
              <a:gd name="connsiteX149" fmla="*/ 269570 w 4255008"/>
              <a:gd name="connsiteY149" fmla="*/ 135542 h 3750846"/>
              <a:gd name="connsiteX150" fmla="*/ 304999 w 4255008"/>
              <a:gd name="connsiteY150" fmla="*/ 103195 h 3750846"/>
              <a:gd name="connsiteX151" fmla="*/ 341969 w 4255008"/>
              <a:gd name="connsiteY151" fmla="*/ 73925 h 3750846"/>
              <a:gd name="connsiteX152" fmla="*/ 380479 w 4255008"/>
              <a:gd name="connsiteY152" fmla="*/ 44658 h 3750846"/>
              <a:gd name="connsiteX153" fmla="*/ 418988 w 4255008"/>
              <a:gd name="connsiteY153" fmla="*/ 15391 h 3750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4255008" h="3750846">
                <a:moveTo>
                  <a:pt x="439240" y="0"/>
                </a:moveTo>
                <a:lnTo>
                  <a:pt x="4255008" y="0"/>
                </a:lnTo>
                <a:lnTo>
                  <a:pt x="4255008" y="3063810"/>
                </a:lnTo>
                <a:lnTo>
                  <a:pt x="4223768" y="3077695"/>
                </a:lnTo>
                <a:lnTo>
                  <a:pt x="4179098" y="3093099"/>
                </a:lnTo>
                <a:lnTo>
                  <a:pt x="4134427" y="3106962"/>
                </a:lnTo>
                <a:lnTo>
                  <a:pt x="4086674" y="3119286"/>
                </a:lnTo>
                <a:lnTo>
                  <a:pt x="4040462" y="3131609"/>
                </a:lnTo>
                <a:lnTo>
                  <a:pt x="3994250" y="3145473"/>
                </a:lnTo>
                <a:lnTo>
                  <a:pt x="3949580" y="3160876"/>
                </a:lnTo>
                <a:lnTo>
                  <a:pt x="3907988" y="3179362"/>
                </a:lnTo>
                <a:lnTo>
                  <a:pt x="3869480" y="3200926"/>
                </a:lnTo>
                <a:lnTo>
                  <a:pt x="3835590" y="3228653"/>
                </a:lnTo>
                <a:lnTo>
                  <a:pt x="3800161" y="3259462"/>
                </a:lnTo>
                <a:lnTo>
                  <a:pt x="3769352" y="3294890"/>
                </a:lnTo>
                <a:lnTo>
                  <a:pt x="3740085" y="3331860"/>
                </a:lnTo>
                <a:lnTo>
                  <a:pt x="3710817" y="3370369"/>
                </a:lnTo>
                <a:lnTo>
                  <a:pt x="3681550" y="3408879"/>
                </a:lnTo>
                <a:lnTo>
                  <a:pt x="3652283" y="3445849"/>
                </a:lnTo>
                <a:lnTo>
                  <a:pt x="3619934" y="3481278"/>
                </a:lnTo>
                <a:lnTo>
                  <a:pt x="3587585" y="3512085"/>
                </a:lnTo>
                <a:lnTo>
                  <a:pt x="3550617" y="3538272"/>
                </a:lnTo>
                <a:lnTo>
                  <a:pt x="3512107" y="3558298"/>
                </a:lnTo>
                <a:lnTo>
                  <a:pt x="3465894" y="3572162"/>
                </a:lnTo>
                <a:lnTo>
                  <a:pt x="3418141" y="3578323"/>
                </a:lnTo>
                <a:lnTo>
                  <a:pt x="3368850" y="3579863"/>
                </a:lnTo>
                <a:lnTo>
                  <a:pt x="3316475" y="3575242"/>
                </a:lnTo>
                <a:lnTo>
                  <a:pt x="3264102" y="3569081"/>
                </a:lnTo>
                <a:lnTo>
                  <a:pt x="3211728" y="3561378"/>
                </a:lnTo>
                <a:lnTo>
                  <a:pt x="3159355" y="3555218"/>
                </a:lnTo>
                <a:lnTo>
                  <a:pt x="3106981" y="3552136"/>
                </a:lnTo>
                <a:lnTo>
                  <a:pt x="3056148" y="3552136"/>
                </a:lnTo>
                <a:lnTo>
                  <a:pt x="3008397" y="3558298"/>
                </a:lnTo>
                <a:lnTo>
                  <a:pt x="2959104" y="3570622"/>
                </a:lnTo>
                <a:lnTo>
                  <a:pt x="2914432" y="3589105"/>
                </a:lnTo>
                <a:lnTo>
                  <a:pt x="2868220" y="3613752"/>
                </a:lnTo>
                <a:lnTo>
                  <a:pt x="2822009" y="3638399"/>
                </a:lnTo>
                <a:lnTo>
                  <a:pt x="2775796" y="3666125"/>
                </a:lnTo>
                <a:lnTo>
                  <a:pt x="2731124" y="3692312"/>
                </a:lnTo>
                <a:lnTo>
                  <a:pt x="2683373" y="3715417"/>
                </a:lnTo>
                <a:lnTo>
                  <a:pt x="2637160" y="3733903"/>
                </a:lnTo>
                <a:lnTo>
                  <a:pt x="2589408" y="3746226"/>
                </a:lnTo>
                <a:lnTo>
                  <a:pt x="2540116" y="3750846"/>
                </a:lnTo>
                <a:lnTo>
                  <a:pt x="2490824" y="3746226"/>
                </a:lnTo>
                <a:lnTo>
                  <a:pt x="2443071" y="3733903"/>
                </a:lnTo>
                <a:lnTo>
                  <a:pt x="2396860" y="3715417"/>
                </a:lnTo>
                <a:lnTo>
                  <a:pt x="2349108" y="3692312"/>
                </a:lnTo>
                <a:lnTo>
                  <a:pt x="2304434" y="3666125"/>
                </a:lnTo>
                <a:lnTo>
                  <a:pt x="2258223" y="3638399"/>
                </a:lnTo>
                <a:lnTo>
                  <a:pt x="2212010" y="3613752"/>
                </a:lnTo>
                <a:lnTo>
                  <a:pt x="2165800" y="3589105"/>
                </a:lnTo>
                <a:lnTo>
                  <a:pt x="2119589" y="3570622"/>
                </a:lnTo>
                <a:lnTo>
                  <a:pt x="2071836" y="3558298"/>
                </a:lnTo>
                <a:lnTo>
                  <a:pt x="2024083" y="3552136"/>
                </a:lnTo>
                <a:lnTo>
                  <a:pt x="1973249" y="3552136"/>
                </a:lnTo>
                <a:lnTo>
                  <a:pt x="1920876" y="3555218"/>
                </a:lnTo>
                <a:lnTo>
                  <a:pt x="1868503" y="3561378"/>
                </a:lnTo>
                <a:lnTo>
                  <a:pt x="1816128" y="3569081"/>
                </a:lnTo>
                <a:lnTo>
                  <a:pt x="1763754" y="3575242"/>
                </a:lnTo>
                <a:lnTo>
                  <a:pt x="1711381" y="3579863"/>
                </a:lnTo>
                <a:lnTo>
                  <a:pt x="1662090" y="3578323"/>
                </a:lnTo>
                <a:lnTo>
                  <a:pt x="1614338" y="3572162"/>
                </a:lnTo>
                <a:lnTo>
                  <a:pt x="1568125" y="3558298"/>
                </a:lnTo>
                <a:lnTo>
                  <a:pt x="1529616" y="3538272"/>
                </a:lnTo>
                <a:lnTo>
                  <a:pt x="1492645" y="3512085"/>
                </a:lnTo>
                <a:lnTo>
                  <a:pt x="1460298" y="3481278"/>
                </a:lnTo>
                <a:lnTo>
                  <a:pt x="1427948" y="3445849"/>
                </a:lnTo>
                <a:lnTo>
                  <a:pt x="1398681" y="3408879"/>
                </a:lnTo>
                <a:lnTo>
                  <a:pt x="1369414" y="3370369"/>
                </a:lnTo>
                <a:lnTo>
                  <a:pt x="1340147" y="3331860"/>
                </a:lnTo>
                <a:lnTo>
                  <a:pt x="1310879" y="3294890"/>
                </a:lnTo>
                <a:lnTo>
                  <a:pt x="1280071" y="3259462"/>
                </a:lnTo>
                <a:lnTo>
                  <a:pt x="1244641" y="3228653"/>
                </a:lnTo>
                <a:lnTo>
                  <a:pt x="1210752" y="3200926"/>
                </a:lnTo>
                <a:lnTo>
                  <a:pt x="1172242" y="3179362"/>
                </a:lnTo>
                <a:lnTo>
                  <a:pt x="1130652" y="3160876"/>
                </a:lnTo>
                <a:lnTo>
                  <a:pt x="1085981" y="3145473"/>
                </a:lnTo>
                <a:lnTo>
                  <a:pt x="1039768" y="3131609"/>
                </a:lnTo>
                <a:lnTo>
                  <a:pt x="993558" y="3119286"/>
                </a:lnTo>
                <a:lnTo>
                  <a:pt x="945805" y="3106962"/>
                </a:lnTo>
                <a:lnTo>
                  <a:pt x="901134" y="3093099"/>
                </a:lnTo>
                <a:lnTo>
                  <a:pt x="856461" y="3077695"/>
                </a:lnTo>
                <a:lnTo>
                  <a:pt x="814872" y="3059209"/>
                </a:lnTo>
                <a:lnTo>
                  <a:pt x="777901" y="3036103"/>
                </a:lnTo>
                <a:lnTo>
                  <a:pt x="744012" y="3008376"/>
                </a:lnTo>
                <a:lnTo>
                  <a:pt x="716286" y="2974489"/>
                </a:lnTo>
                <a:lnTo>
                  <a:pt x="693181" y="2937519"/>
                </a:lnTo>
                <a:lnTo>
                  <a:pt x="674695" y="2895927"/>
                </a:lnTo>
                <a:lnTo>
                  <a:pt x="659292" y="2851257"/>
                </a:lnTo>
                <a:lnTo>
                  <a:pt x="645428" y="2806586"/>
                </a:lnTo>
                <a:lnTo>
                  <a:pt x="633104" y="2758833"/>
                </a:lnTo>
                <a:lnTo>
                  <a:pt x="620780" y="2712622"/>
                </a:lnTo>
                <a:lnTo>
                  <a:pt x="606917" y="2666410"/>
                </a:lnTo>
                <a:lnTo>
                  <a:pt x="591513" y="2621737"/>
                </a:lnTo>
                <a:lnTo>
                  <a:pt x="573028" y="2580146"/>
                </a:lnTo>
                <a:lnTo>
                  <a:pt x="551462" y="2541637"/>
                </a:lnTo>
                <a:lnTo>
                  <a:pt x="523737" y="2507748"/>
                </a:lnTo>
                <a:lnTo>
                  <a:pt x="492928" y="2472319"/>
                </a:lnTo>
                <a:lnTo>
                  <a:pt x="457499" y="2441511"/>
                </a:lnTo>
                <a:lnTo>
                  <a:pt x="418988" y="2412245"/>
                </a:lnTo>
                <a:lnTo>
                  <a:pt x="380479" y="2382977"/>
                </a:lnTo>
                <a:lnTo>
                  <a:pt x="341969" y="2353710"/>
                </a:lnTo>
                <a:lnTo>
                  <a:pt x="304999" y="2324441"/>
                </a:lnTo>
                <a:lnTo>
                  <a:pt x="269570" y="2292094"/>
                </a:lnTo>
                <a:lnTo>
                  <a:pt x="238762" y="2259746"/>
                </a:lnTo>
                <a:lnTo>
                  <a:pt x="212576" y="2222776"/>
                </a:lnTo>
                <a:lnTo>
                  <a:pt x="192552" y="2184267"/>
                </a:lnTo>
                <a:lnTo>
                  <a:pt x="178688" y="2138056"/>
                </a:lnTo>
                <a:lnTo>
                  <a:pt x="172526" y="2090303"/>
                </a:lnTo>
                <a:lnTo>
                  <a:pt x="170984" y="2041008"/>
                </a:lnTo>
                <a:lnTo>
                  <a:pt x="175606" y="1988636"/>
                </a:lnTo>
                <a:lnTo>
                  <a:pt x="181768" y="1936263"/>
                </a:lnTo>
                <a:lnTo>
                  <a:pt x="189469" y="1883889"/>
                </a:lnTo>
                <a:lnTo>
                  <a:pt x="195632" y="1831516"/>
                </a:lnTo>
                <a:lnTo>
                  <a:pt x="198713" y="1779143"/>
                </a:lnTo>
                <a:lnTo>
                  <a:pt x="198713" y="1728309"/>
                </a:lnTo>
                <a:lnTo>
                  <a:pt x="192552" y="1680558"/>
                </a:lnTo>
                <a:lnTo>
                  <a:pt x="180228" y="1632805"/>
                </a:lnTo>
                <a:lnTo>
                  <a:pt x="161743" y="1588133"/>
                </a:lnTo>
                <a:lnTo>
                  <a:pt x="138637" y="1541921"/>
                </a:lnTo>
                <a:lnTo>
                  <a:pt x="112449" y="1495711"/>
                </a:lnTo>
                <a:lnTo>
                  <a:pt x="84724" y="1449498"/>
                </a:lnTo>
                <a:lnTo>
                  <a:pt x="58536" y="1404826"/>
                </a:lnTo>
                <a:lnTo>
                  <a:pt x="35429" y="1357075"/>
                </a:lnTo>
                <a:lnTo>
                  <a:pt x="16946" y="1310862"/>
                </a:lnTo>
                <a:lnTo>
                  <a:pt x="4623" y="1263110"/>
                </a:lnTo>
                <a:lnTo>
                  <a:pt x="0" y="1213817"/>
                </a:lnTo>
                <a:lnTo>
                  <a:pt x="4623" y="1164526"/>
                </a:lnTo>
                <a:lnTo>
                  <a:pt x="16946" y="1116774"/>
                </a:lnTo>
                <a:lnTo>
                  <a:pt x="35429" y="1070561"/>
                </a:lnTo>
                <a:lnTo>
                  <a:pt x="58536" y="1022810"/>
                </a:lnTo>
                <a:lnTo>
                  <a:pt x="84724" y="978137"/>
                </a:lnTo>
                <a:lnTo>
                  <a:pt x="112449" y="931927"/>
                </a:lnTo>
                <a:lnTo>
                  <a:pt x="138637" y="885714"/>
                </a:lnTo>
                <a:lnTo>
                  <a:pt x="161743" y="839503"/>
                </a:lnTo>
                <a:lnTo>
                  <a:pt x="180228" y="794830"/>
                </a:lnTo>
                <a:lnTo>
                  <a:pt x="192552" y="747078"/>
                </a:lnTo>
                <a:lnTo>
                  <a:pt x="198713" y="699327"/>
                </a:lnTo>
                <a:lnTo>
                  <a:pt x="198713" y="648494"/>
                </a:lnTo>
                <a:lnTo>
                  <a:pt x="195632" y="596120"/>
                </a:lnTo>
                <a:lnTo>
                  <a:pt x="189469" y="543747"/>
                </a:lnTo>
                <a:lnTo>
                  <a:pt x="181768" y="491372"/>
                </a:lnTo>
                <a:lnTo>
                  <a:pt x="175606" y="438999"/>
                </a:lnTo>
                <a:lnTo>
                  <a:pt x="170984" y="386627"/>
                </a:lnTo>
                <a:lnTo>
                  <a:pt x="172526" y="337334"/>
                </a:lnTo>
                <a:lnTo>
                  <a:pt x="178688" y="289582"/>
                </a:lnTo>
                <a:lnTo>
                  <a:pt x="192552" y="243369"/>
                </a:lnTo>
                <a:lnTo>
                  <a:pt x="212576" y="204861"/>
                </a:lnTo>
                <a:lnTo>
                  <a:pt x="238762" y="167891"/>
                </a:lnTo>
                <a:lnTo>
                  <a:pt x="269570" y="135542"/>
                </a:lnTo>
                <a:lnTo>
                  <a:pt x="304999" y="103195"/>
                </a:lnTo>
                <a:lnTo>
                  <a:pt x="341969" y="73925"/>
                </a:lnTo>
                <a:lnTo>
                  <a:pt x="380479" y="44658"/>
                </a:lnTo>
                <a:lnTo>
                  <a:pt x="418988" y="15391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5FAA0D41-326B-4806-BC2B-BA2783E5B7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25618" y="0"/>
            <a:ext cx="4166383" cy="3662328"/>
          </a:xfrm>
          <a:custGeom>
            <a:avLst/>
            <a:gdLst>
              <a:gd name="connsiteX0" fmla="*/ 474841 w 4166383"/>
              <a:gd name="connsiteY0" fmla="*/ 0 h 3662328"/>
              <a:gd name="connsiteX1" fmla="*/ 4166383 w 4166383"/>
              <a:gd name="connsiteY1" fmla="*/ 0 h 3662328"/>
              <a:gd name="connsiteX2" fmla="*/ 4166383 w 4166383"/>
              <a:gd name="connsiteY2" fmla="*/ 2960939 h 3662328"/>
              <a:gd name="connsiteX3" fmla="*/ 4152224 w 4166383"/>
              <a:gd name="connsiteY3" fmla="*/ 2972523 h 3662328"/>
              <a:gd name="connsiteX4" fmla="*/ 4116543 w 4166383"/>
              <a:gd name="connsiteY4" fmla="*/ 2994823 h 3662328"/>
              <a:gd name="connsiteX5" fmla="*/ 4076403 w 4166383"/>
              <a:gd name="connsiteY5" fmla="*/ 3012663 h 3662328"/>
              <a:gd name="connsiteX6" fmla="*/ 4033291 w 4166383"/>
              <a:gd name="connsiteY6" fmla="*/ 3027530 h 3662328"/>
              <a:gd name="connsiteX7" fmla="*/ 3990179 w 4166383"/>
              <a:gd name="connsiteY7" fmla="*/ 3040909 h 3662328"/>
              <a:gd name="connsiteX8" fmla="*/ 3944092 w 4166383"/>
              <a:gd name="connsiteY8" fmla="*/ 3052803 h 3662328"/>
              <a:gd name="connsiteX9" fmla="*/ 3899491 w 4166383"/>
              <a:gd name="connsiteY9" fmla="*/ 3064697 h 3662328"/>
              <a:gd name="connsiteX10" fmla="*/ 3854893 w 4166383"/>
              <a:gd name="connsiteY10" fmla="*/ 3078077 h 3662328"/>
              <a:gd name="connsiteX11" fmla="*/ 3811781 w 4166383"/>
              <a:gd name="connsiteY11" fmla="*/ 3092943 h 3662328"/>
              <a:gd name="connsiteX12" fmla="*/ 3771641 w 4166383"/>
              <a:gd name="connsiteY12" fmla="*/ 3110783 h 3662328"/>
              <a:gd name="connsiteX13" fmla="*/ 3734475 w 4166383"/>
              <a:gd name="connsiteY13" fmla="*/ 3131595 h 3662328"/>
              <a:gd name="connsiteX14" fmla="*/ 3701768 w 4166383"/>
              <a:gd name="connsiteY14" fmla="*/ 3158355 h 3662328"/>
              <a:gd name="connsiteX15" fmla="*/ 3667575 w 4166383"/>
              <a:gd name="connsiteY15" fmla="*/ 3188088 h 3662328"/>
              <a:gd name="connsiteX16" fmla="*/ 3637841 w 4166383"/>
              <a:gd name="connsiteY16" fmla="*/ 3222281 h 3662328"/>
              <a:gd name="connsiteX17" fmla="*/ 3609595 w 4166383"/>
              <a:gd name="connsiteY17" fmla="*/ 3257961 h 3662328"/>
              <a:gd name="connsiteX18" fmla="*/ 3581349 w 4166383"/>
              <a:gd name="connsiteY18" fmla="*/ 3295126 h 3662328"/>
              <a:gd name="connsiteX19" fmla="*/ 3553102 w 4166383"/>
              <a:gd name="connsiteY19" fmla="*/ 3332293 h 3662328"/>
              <a:gd name="connsiteX20" fmla="*/ 3524856 w 4166383"/>
              <a:gd name="connsiteY20" fmla="*/ 3367972 h 3662328"/>
              <a:gd name="connsiteX21" fmla="*/ 3493636 w 4166383"/>
              <a:gd name="connsiteY21" fmla="*/ 3402165 h 3662328"/>
              <a:gd name="connsiteX22" fmla="*/ 3462416 w 4166383"/>
              <a:gd name="connsiteY22" fmla="*/ 3431897 h 3662328"/>
              <a:gd name="connsiteX23" fmla="*/ 3426738 w 4166383"/>
              <a:gd name="connsiteY23" fmla="*/ 3457171 h 3662328"/>
              <a:gd name="connsiteX24" fmla="*/ 3389571 w 4166383"/>
              <a:gd name="connsiteY24" fmla="*/ 3476498 h 3662328"/>
              <a:gd name="connsiteX25" fmla="*/ 3344970 w 4166383"/>
              <a:gd name="connsiteY25" fmla="*/ 3489878 h 3662328"/>
              <a:gd name="connsiteX26" fmla="*/ 3298883 w 4166383"/>
              <a:gd name="connsiteY26" fmla="*/ 3495825 h 3662328"/>
              <a:gd name="connsiteX27" fmla="*/ 3251312 w 4166383"/>
              <a:gd name="connsiteY27" fmla="*/ 3497311 h 3662328"/>
              <a:gd name="connsiteX28" fmla="*/ 3200765 w 4166383"/>
              <a:gd name="connsiteY28" fmla="*/ 3492850 h 3662328"/>
              <a:gd name="connsiteX29" fmla="*/ 3150219 w 4166383"/>
              <a:gd name="connsiteY29" fmla="*/ 3486905 h 3662328"/>
              <a:gd name="connsiteX30" fmla="*/ 3099672 w 4166383"/>
              <a:gd name="connsiteY30" fmla="*/ 3479470 h 3662328"/>
              <a:gd name="connsiteX31" fmla="*/ 3049127 w 4166383"/>
              <a:gd name="connsiteY31" fmla="*/ 3473525 h 3662328"/>
              <a:gd name="connsiteX32" fmla="*/ 2998579 w 4166383"/>
              <a:gd name="connsiteY32" fmla="*/ 3470551 h 3662328"/>
              <a:gd name="connsiteX33" fmla="*/ 2949520 w 4166383"/>
              <a:gd name="connsiteY33" fmla="*/ 3470551 h 3662328"/>
              <a:gd name="connsiteX34" fmla="*/ 2903435 w 4166383"/>
              <a:gd name="connsiteY34" fmla="*/ 3476498 h 3662328"/>
              <a:gd name="connsiteX35" fmla="*/ 2855862 w 4166383"/>
              <a:gd name="connsiteY35" fmla="*/ 3488392 h 3662328"/>
              <a:gd name="connsiteX36" fmla="*/ 2812749 w 4166383"/>
              <a:gd name="connsiteY36" fmla="*/ 3506230 h 3662328"/>
              <a:gd name="connsiteX37" fmla="*/ 2768149 w 4166383"/>
              <a:gd name="connsiteY37" fmla="*/ 3530017 h 3662328"/>
              <a:gd name="connsiteX38" fmla="*/ 2723551 w 4166383"/>
              <a:gd name="connsiteY38" fmla="*/ 3553804 h 3662328"/>
              <a:gd name="connsiteX39" fmla="*/ 2678950 w 4166383"/>
              <a:gd name="connsiteY39" fmla="*/ 3580563 h 3662328"/>
              <a:gd name="connsiteX40" fmla="*/ 2635836 w 4166383"/>
              <a:gd name="connsiteY40" fmla="*/ 3605836 h 3662328"/>
              <a:gd name="connsiteX41" fmla="*/ 2589751 w 4166383"/>
              <a:gd name="connsiteY41" fmla="*/ 3628136 h 3662328"/>
              <a:gd name="connsiteX42" fmla="*/ 2545151 w 4166383"/>
              <a:gd name="connsiteY42" fmla="*/ 3645976 h 3662328"/>
              <a:gd name="connsiteX43" fmla="*/ 2499064 w 4166383"/>
              <a:gd name="connsiteY43" fmla="*/ 3657869 h 3662328"/>
              <a:gd name="connsiteX44" fmla="*/ 2451493 w 4166383"/>
              <a:gd name="connsiteY44" fmla="*/ 3662328 h 3662328"/>
              <a:gd name="connsiteX45" fmla="*/ 2403920 w 4166383"/>
              <a:gd name="connsiteY45" fmla="*/ 3657869 h 3662328"/>
              <a:gd name="connsiteX46" fmla="*/ 2357833 w 4166383"/>
              <a:gd name="connsiteY46" fmla="*/ 3645976 h 3662328"/>
              <a:gd name="connsiteX47" fmla="*/ 2313235 w 4166383"/>
              <a:gd name="connsiteY47" fmla="*/ 3628136 h 3662328"/>
              <a:gd name="connsiteX48" fmla="*/ 2267148 w 4166383"/>
              <a:gd name="connsiteY48" fmla="*/ 3605836 h 3662328"/>
              <a:gd name="connsiteX49" fmla="*/ 2224034 w 4166383"/>
              <a:gd name="connsiteY49" fmla="*/ 3580563 h 3662328"/>
              <a:gd name="connsiteX50" fmla="*/ 2179435 w 4166383"/>
              <a:gd name="connsiteY50" fmla="*/ 3553804 h 3662328"/>
              <a:gd name="connsiteX51" fmla="*/ 2134835 w 4166383"/>
              <a:gd name="connsiteY51" fmla="*/ 3530017 h 3662328"/>
              <a:gd name="connsiteX52" fmla="*/ 2090236 w 4166383"/>
              <a:gd name="connsiteY52" fmla="*/ 3506230 h 3662328"/>
              <a:gd name="connsiteX53" fmla="*/ 2045637 w 4166383"/>
              <a:gd name="connsiteY53" fmla="*/ 3488392 h 3662328"/>
              <a:gd name="connsiteX54" fmla="*/ 1999551 w 4166383"/>
              <a:gd name="connsiteY54" fmla="*/ 3476498 h 3662328"/>
              <a:gd name="connsiteX55" fmla="*/ 1953464 w 4166383"/>
              <a:gd name="connsiteY55" fmla="*/ 3470551 h 3662328"/>
              <a:gd name="connsiteX56" fmla="*/ 1904403 w 4166383"/>
              <a:gd name="connsiteY56" fmla="*/ 3470551 h 3662328"/>
              <a:gd name="connsiteX57" fmla="*/ 1853857 w 4166383"/>
              <a:gd name="connsiteY57" fmla="*/ 3473525 h 3662328"/>
              <a:gd name="connsiteX58" fmla="*/ 1803312 w 4166383"/>
              <a:gd name="connsiteY58" fmla="*/ 3479470 h 3662328"/>
              <a:gd name="connsiteX59" fmla="*/ 1752765 w 4166383"/>
              <a:gd name="connsiteY59" fmla="*/ 3486905 h 3662328"/>
              <a:gd name="connsiteX60" fmla="*/ 1702217 w 4166383"/>
              <a:gd name="connsiteY60" fmla="*/ 3492850 h 3662328"/>
              <a:gd name="connsiteX61" fmla="*/ 1651672 w 4166383"/>
              <a:gd name="connsiteY61" fmla="*/ 3497311 h 3662328"/>
              <a:gd name="connsiteX62" fmla="*/ 1604101 w 4166383"/>
              <a:gd name="connsiteY62" fmla="*/ 3495825 h 3662328"/>
              <a:gd name="connsiteX63" fmla="*/ 1558015 w 4166383"/>
              <a:gd name="connsiteY63" fmla="*/ 3489878 h 3662328"/>
              <a:gd name="connsiteX64" fmla="*/ 1513414 w 4166383"/>
              <a:gd name="connsiteY64" fmla="*/ 3476498 h 3662328"/>
              <a:gd name="connsiteX65" fmla="*/ 1476248 w 4166383"/>
              <a:gd name="connsiteY65" fmla="*/ 3457171 h 3662328"/>
              <a:gd name="connsiteX66" fmla="*/ 1440567 w 4166383"/>
              <a:gd name="connsiteY66" fmla="*/ 3431897 h 3662328"/>
              <a:gd name="connsiteX67" fmla="*/ 1409349 w 4166383"/>
              <a:gd name="connsiteY67" fmla="*/ 3402165 h 3662328"/>
              <a:gd name="connsiteX68" fmla="*/ 1378128 w 4166383"/>
              <a:gd name="connsiteY68" fmla="*/ 3367972 h 3662328"/>
              <a:gd name="connsiteX69" fmla="*/ 1349882 w 4166383"/>
              <a:gd name="connsiteY69" fmla="*/ 3332293 h 3662328"/>
              <a:gd name="connsiteX70" fmla="*/ 1321636 w 4166383"/>
              <a:gd name="connsiteY70" fmla="*/ 3295126 h 3662328"/>
              <a:gd name="connsiteX71" fmla="*/ 1293389 w 4166383"/>
              <a:gd name="connsiteY71" fmla="*/ 3257961 h 3662328"/>
              <a:gd name="connsiteX72" fmla="*/ 1265143 w 4166383"/>
              <a:gd name="connsiteY72" fmla="*/ 3222281 h 3662328"/>
              <a:gd name="connsiteX73" fmla="*/ 1235409 w 4166383"/>
              <a:gd name="connsiteY73" fmla="*/ 3188088 h 3662328"/>
              <a:gd name="connsiteX74" fmla="*/ 1201216 w 4166383"/>
              <a:gd name="connsiteY74" fmla="*/ 3158355 h 3662328"/>
              <a:gd name="connsiteX75" fmla="*/ 1168509 w 4166383"/>
              <a:gd name="connsiteY75" fmla="*/ 3131595 h 3662328"/>
              <a:gd name="connsiteX76" fmla="*/ 1131343 w 4166383"/>
              <a:gd name="connsiteY76" fmla="*/ 3110783 h 3662328"/>
              <a:gd name="connsiteX77" fmla="*/ 1091204 w 4166383"/>
              <a:gd name="connsiteY77" fmla="*/ 3092943 h 3662328"/>
              <a:gd name="connsiteX78" fmla="*/ 1048091 w 4166383"/>
              <a:gd name="connsiteY78" fmla="*/ 3078077 h 3662328"/>
              <a:gd name="connsiteX79" fmla="*/ 1003491 w 4166383"/>
              <a:gd name="connsiteY79" fmla="*/ 3064697 h 3662328"/>
              <a:gd name="connsiteX80" fmla="*/ 958893 w 4166383"/>
              <a:gd name="connsiteY80" fmla="*/ 3052803 h 3662328"/>
              <a:gd name="connsiteX81" fmla="*/ 912806 w 4166383"/>
              <a:gd name="connsiteY81" fmla="*/ 3040909 h 3662328"/>
              <a:gd name="connsiteX82" fmla="*/ 869693 w 4166383"/>
              <a:gd name="connsiteY82" fmla="*/ 3027530 h 3662328"/>
              <a:gd name="connsiteX83" fmla="*/ 826579 w 4166383"/>
              <a:gd name="connsiteY83" fmla="*/ 3012663 h 3662328"/>
              <a:gd name="connsiteX84" fmla="*/ 786441 w 4166383"/>
              <a:gd name="connsiteY84" fmla="*/ 2994823 h 3662328"/>
              <a:gd name="connsiteX85" fmla="*/ 750760 w 4166383"/>
              <a:gd name="connsiteY85" fmla="*/ 2972523 h 3662328"/>
              <a:gd name="connsiteX86" fmla="*/ 718053 w 4166383"/>
              <a:gd name="connsiteY86" fmla="*/ 2945763 h 3662328"/>
              <a:gd name="connsiteX87" fmla="*/ 691295 w 4166383"/>
              <a:gd name="connsiteY87" fmla="*/ 2913058 h 3662328"/>
              <a:gd name="connsiteX88" fmla="*/ 668996 w 4166383"/>
              <a:gd name="connsiteY88" fmla="*/ 2877378 h 3662328"/>
              <a:gd name="connsiteX89" fmla="*/ 651155 w 4166383"/>
              <a:gd name="connsiteY89" fmla="*/ 2837238 h 3662328"/>
              <a:gd name="connsiteX90" fmla="*/ 636289 w 4166383"/>
              <a:gd name="connsiteY90" fmla="*/ 2794126 h 3662328"/>
              <a:gd name="connsiteX91" fmla="*/ 622909 w 4166383"/>
              <a:gd name="connsiteY91" fmla="*/ 2751014 h 3662328"/>
              <a:gd name="connsiteX92" fmla="*/ 611016 w 4166383"/>
              <a:gd name="connsiteY92" fmla="*/ 2704927 h 3662328"/>
              <a:gd name="connsiteX93" fmla="*/ 599122 w 4166383"/>
              <a:gd name="connsiteY93" fmla="*/ 2660328 h 3662328"/>
              <a:gd name="connsiteX94" fmla="*/ 585742 w 4166383"/>
              <a:gd name="connsiteY94" fmla="*/ 2615729 h 3662328"/>
              <a:gd name="connsiteX95" fmla="*/ 570876 w 4166383"/>
              <a:gd name="connsiteY95" fmla="*/ 2572614 h 3662328"/>
              <a:gd name="connsiteX96" fmla="*/ 553035 w 4166383"/>
              <a:gd name="connsiteY96" fmla="*/ 2532474 h 3662328"/>
              <a:gd name="connsiteX97" fmla="*/ 532222 w 4166383"/>
              <a:gd name="connsiteY97" fmla="*/ 2495309 h 3662328"/>
              <a:gd name="connsiteX98" fmla="*/ 505464 w 4166383"/>
              <a:gd name="connsiteY98" fmla="*/ 2462603 h 3662328"/>
              <a:gd name="connsiteX99" fmla="*/ 475730 w 4166383"/>
              <a:gd name="connsiteY99" fmla="*/ 2428409 h 3662328"/>
              <a:gd name="connsiteX100" fmla="*/ 441537 w 4166383"/>
              <a:gd name="connsiteY100" fmla="*/ 2398677 h 3662328"/>
              <a:gd name="connsiteX101" fmla="*/ 404369 w 4166383"/>
              <a:gd name="connsiteY101" fmla="*/ 2370431 h 3662328"/>
              <a:gd name="connsiteX102" fmla="*/ 367204 w 4166383"/>
              <a:gd name="connsiteY102" fmla="*/ 2342185 h 3662328"/>
              <a:gd name="connsiteX103" fmla="*/ 330038 w 4166383"/>
              <a:gd name="connsiteY103" fmla="*/ 2313939 h 3662328"/>
              <a:gd name="connsiteX104" fmla="*/ 294358 w 4166383"/>
              <a:gd name="connsiteY104" fmla="*/ 2285691 h 3662328"/>
              <a:gd name="connsiteX105" fmla="*/ 260165 w 4166383"/>
              <a:gd name="connsiteY105" fmla="*/ 2254473 h 3662328"/>
              <a:gd name="connsiteX106" fmla="*/ 230432 w 4166383"/>
              <a:gd name="connsiteY106" fmla="*/ 2223253 h 3662328"/>
              <a:gd name="connsiteX107" fmla="*/ 205160 w 4166383"/>
              <a:gd name="connsiteY107" fmla="*/ 2187573 h 3662328"/>
              <a:gd name="connsiteX108" fmla="*/ 185834 w 4166383"/>
              <a:gd name="connsiteY108" fmla="*/ 2150408 h 3662328"/>
              <a:gd name="connsiteX109" fmla="*/ 172453 w 4166383"/>
              <a:gd name="connsiteY109" fmla="*/ 2105809 h 3662328"/>
              <a:gd name="connsiteX110" fmla="*/ 166507 w 4166383"/>
              <a:gd name="connsiteY110" fmla="*/ 2059722 h 3662328"/>
              <a:gd name="connsiteX111" fmla="*/ 165019 w 4166383"/>
              <a:gd name="connsiteY111" fmla="*/ 2012148 h 3662328"/>
              <a:gd name="connsiteX112" fmla="*/ 169479 w 4166383"/>
              <a:gd name="connsiteY112" fmla="*/ 1961602 h 3662328"/>
              <a:gd name="connsiteX113" fmla="*/ 175426 w 4166383"/>
              <a:gd name="connsiteY113" fmla="*/ 1911057 h 3662328"/>
              <a:gd name="connsiteX114" fmla="*/ 182859 w 4166383"/>
              <a:gd name="connsiteY114" fmla="*/ 1860510 h 3662328"/>
              <a:gd name="connsiteX115" fmla="*/ 188806 w 4166383"/>
              <a:gd name="connsiteY115" fmla="*/ 1809964 h 3662328"/>
              <a:gd name="connsiteX116" fmla="*/ 191780 w 4166383"/>
              <a:gd name="connsiteY116" fmla="*/ 1759419 h 3662328"/>
              <a:gd name="connsiteX117" fmla="*/ 191780 w 4166383"/>
              <a:gd name="connsiteY117" fmla="*/ 1710358 h 3662328"/>
              <a:gd name="connsiteX118" fmla="*/ 185834 w 4166383"/>
              <a:gd name="connsiteY118" fmla="*/ 1664274 h 3662328"/>
              <a:gd name="connsiteX119" fmla="*/ 173940 w 4166383"/>
              <a:gd name="connsiteY119" fmla="*/ 1618187 h 3662328"/>
              <a:gd name="connsiteX120" fmla="*/ 156100 w 4166383"/>
              <a:gd name="connsiteY120" fmla="*/ 1575073 h 3662328"/>
              <a:gd name="connsiteX121" fmla="*/ 133800 w 4166383"/>
              <a:gd name="connsiteY121" fmla="*/ 1530474 h 3662328"/>
              <a:gd name="connsiteX122" fmla="*/ 108526 w 4166383"/>
              <a:gd name="connsiteY122" fmla="*/ 1485876 h 3662328"/>
              <a:gd name="connsiteX123" fmla="*/ 81768 w 4166383"/>
              <a:gd name="connsiteY123" fmla="*/ 1441276 h 3662328"/>
              <a:gd name="connsiteX124" fmla="*/ 56494 w 4166383"/>
              <a:gd name="connsiteY124" fmla="*/ 1398162 h 3662328"/>
              <a:gd name="connsiteX125" fmla="*/ 34193 w 4166383"/>
              <a:gd name="connsiteY125" fmla="*/ 1352077 h 3662328"/>
              <a:gd name="connsiteX126" fmla="*/ 16355 w 4166383"/>
              <a:gd name="connsiteY126" fmla="*/ 1307477 h 3662328"/>
              <a:gd name="connsiteX127" fmla="*/ 4461 w 4166383"/>
              <a:gd name="connsiteY127" fmla="*/ 1261390 h 3662328"/>
              <a:gd name="connsiteX128" fmla="*/ 0 w 4166383"/>
              <a:gd name="connsiteY128" fmla="*/ 1213817 h 3662328"/>
              <a:gd name="connsiteX129" fmla="*/ 4461 w 4166383"/>
              <a:gd name="connsiteY129" fmla="*/ 1166246 h 3662328"/>
              <a:gd name="connsiteX130" fmla="*/ 16355 w 4166383"/>
              <a:gd name="connsiteY130" fmla="*/ 1120160 h 3662328"/>
              <a:gd name="connsiteX131" fmla="*/ 34193 w 4166383"/>
              <a:gd name="connsiteY131" fmla="*/ 1075560 h 3662328"/>
              <a:gd name="connsiteX132" fmla="*/ 56494 w 4166383"/>
              <a:gd name="connsiteY132" fmla="*/ 1029475 h 3662328"/>
              <a:gd name="connsiteX133" fmla="*/ 81768 w 4166383"/>
              <a:gd name="connsiteY133" fmla="*/ 986360 h 3662328"/>
              <a:gd name="connsiteX134" fmla="*/ 108526 w 4166383"/>
              <a:gd name="connsiteY134" fmla="*/ 941762 h 3662328"/>
              <a:gd name="connsiteX135" fmla="*/ 133800 w 4166383"/>
              <a:gd name="connsiteY135" fmla="*/ 897162 h 3662328"/>
              <a:gd name="connsiteX136" fmla="*/ 156100 w 4166383"/>
              <a:gd name="connsiteY136" fmla="*/ 852563 h 3662328"/>
              <a:gd name="connsiteX137" fmla="*/ 173940 w 4166383"/>
              <a:gd name="connsiteY137" fmla="*/ 809449 h 3662328"/>
              <a:gd name="connsiteX138" fmla="*/ 185834 w 4166383"/>
              <a:gd name="connsiteY138" fmla="*/ 763363 h 3662328"/>
              <a:gd name="connsiteX139" fmla="*/ 191780 w 4166383"/>
              <a:gd name="connsiteY139" fmla="*/ 717278 h 3662328"/>
              <a:gd name="connsiteX140" fmla="*/ 191780 w 4166383"/>
              <a:gd name="connsiteY140" fmla="*/ 668219 h 3662328"/>
              <a:gd name="connsiteX141" fmla="*/ 188806 w 4166383"/>
              <a:gd name="connsiteY141" fmla="*/ 617672 h 3662328"/>
              <a:gd name="connsiteX142" fmla="*/ 182859 w 4166383"/>
              <a:gd name="connsiteY142" fmla="*/ 567126 h 3662328"/>
              <a:gd name="connsiteX143" fmla="*/ 175426 w 4166383"/>
              <a:gd name="connsiteY143" fmla="*/ 516579 h 3662328"/>
              <a:gd name="connsiteX144" fmla="*/ 169479 w 4166383"/>
              <a:gd name="connsiteY144" fmla="*/ 466034 h 3662328"/>
              <a:gd name="connsiteX145" fmla="*/ 165019 w 4166383"/>
              <a:gd name="connsiteY145" fmla="*/ 415488 h 3662328"/>
              <a:gd name="connsiteX146" fmla="*/ 166507 w 4166383"/>
              <a:gd name="connsiteY146" fmla="*/ 367916 h 3662328"/>
              <a:gd name="connsiteX147" fmla="*/ 172453 w 4166383"/>
              <a:gd name="connsiteY147" fmla="*/ 321830 h 3662328"/>
              <a:gd name="connsiteX148" fmla="*/ 185834 w 4166383"/>
              <a:gd name="connsiteY148" fmla="*/ 277229 h 3662328"/>
              <a:gd name="connsiteX149" fmla="*/ 205160 w 4166383"/>
              <a:gd name="connsiteY149" fmla="*/ 240064 h 3662328"/>
              <a:gd name="connsiteX150" fmla="*/ 230432 w 4166383"/>
              <a:gd name="connsiteY150" fmla="*/ 204384 h 3662328"/>
              <a:gd name="connsiteX151" fmla="*/ 260165 w 4166383"/>
              <a:gd name="connsiteY151" fmla="*/ 173164 h 3662328"/>
              <a:gd name="connsiteX152" fmla="*/ 294358 w 4166383"/>
              <a:gd name="connsiteY152" fmla="*/ 141946 h 3662328"/>
              <a:gd name="connsiteX153" fmla="*/ 330038 w 4166383"/>
              <a:gd name="connsiteY153" fmla="*/ 113697 h 3662328"/>
              <a:gd name="connsiteX154" fmla="*/ 367204 w 4166383"/>
              <a:gd name="connsiteY154" fmla="*/ 85451 h 3662328"/>
              <a:gd name="connsiteX155" fmla="*/ 404369 w 4166383"/>
              <a:gd name="connsiteY155" fmla="*/ 57205 h 3662328"/>
              <a:gd name="connsiteX156" fmla="*/ 441537 w 4166383"/>
              <a:gd name="connsiteY156" fmla="*/ 28959 h 3662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</a:cxnLst>
            <a:rect l="l" t="t" r="r" b="b"/>
            <a:pathLst>
              <a:path w="4166383" h="3662328">
                <a:moveTo>
                  <a:pt x="474841" y="0"/>
                </a:moveTo>
                <a:lnTo>
                  <a:pt x="4166383" y="0"/>
                </a:lnTo>
                <a:lnTo>
                  <a:pt x="4166383" y="2960939"/>
                </a:lnTo>
                <a:lnTo>
                  <a:pt x="4152224" y="2972523"/>
                </a:lnTo>
                <a:lnTo>
                  <a:pt x="4116543" y="2994823"/>
                </a:lnTo>
                <a:lnTo>
                  <a:pt x="4076403" y="3012663"/>
                </a:lnTo>
                <a:lnTo>
                  <a:pt x="4033291" y="3027530"/>
                </a:lnTo>
                <a:lnTo>
                  <a:pt x="3990179" y="3040909"/>
                </a:lnTo>
                <a:lnTo>
                  <a:pt x="3944092" y="3052803"/>
                </a:lnTo>
                <a:lnTo>
                  <a:pt x="3899491" y="3064697"/>
                </a:lnTo>
                <a:lnTo>
                  <a:pt x="3854893" y="3078077"/>
                </a:lnTo>
                <a:lnTo>
                  <a:pt x="3811781" y="3092943"/>
                </a:lnTo>
                <a:lnTo>
                  <a:pt x="3771641" y="3110783"/>
                </a:lnTo>
                <a:lnTo>
                  <a:pt x="3734475" y="3131595"/>
                </a:lnTo>
                <a:lnTo>
                  <a:pt x="3701768" y="3158355"/>
                </a:lnTo>
                <a:lnTo>
                  <a:pt x="3667575" y="3188088"/>
                </a:lnTo>
                <a:lnTo>
                  <a:pt x="3637841" y="3222281"/>
                </a:lnTo>
                <a:lnTo>
                  <a:pt x="3609595" y="3257961"/>
                </a:lnTo>
                <a:lnTo>
                  <a:pt x="3581349" y="3295126"/>
                </a:lnTo>
                <a:lnTo>
                  <a:pt x="3553102" y="3332293"/>
                </a:lnTo>
                <a:lnTo>
                  <a:pt x="3524856" y="3367972"/>
                </a:lnTo>
                <a:lnTo>
                  <a:pt x="3493636" y="3402165"/>
                </a:lnTo>
                <a:lnTo>
                  <a:pt x="3462416" y="3431897"/>
                </a:lnTo>
                <a:lnTo>
                  <a:pt x="3426738" y="3457171"/>
                </a:lnTo>
                <a:lnTo>
                  <a:pt x="3389571" y="3476498"/>
                </a:lnTo>
                <a:lnTo>
                  <a:pt x="3344970" y="3489878"/>
                </a:lnTo>
                <a:lnTo>
                  <a:pt x="3298883" y="3495825"/>
                </a:lnTo>
                <a:lnTo>
                  <a:pt x="3251312" y="3497311"/>
                </a:lnTo>
                <a:lnTo>
                  <a:pt x="3200765" y="3492850"/>
                </a:lnTo>
                <a:lnTo>
                  <a:pt x="3150219" y="3486905"/>
                </a:lnTo>
                <a:lnTo>
                  <a:pt x="3099672" y="3479470"/>
                </a:lnTo>
                <a:lnTo>
                  <a:pt x="3049127" y="3473525"/>
                </a:lnTo>
                <a:lnTo>
                  <a:pt x="2998579" y="3470551"/>
                </a:lnTo>
                <a:lnTo>
                  <a:pt x="2949520" y="3470551"/>
                </a:lnTo>
                <a:lnTo>
                  <a:pt x="2903435" y="3476498"/>
                </a:lnTo>
                <a:lnTo>
                  <a:pt x="2855862" y="3488392"/>
                </a:lnTo>
                <a:lnTo>
                  <a:pt x="2812749" y="3506230"/>
                </a:lnTo>
                <a:lnTo>
                  <a:pt x="2768149" y="3530017"/>
                </a:lnTo>
                <a:lnTo>
                  <a:pt x="2723551" y="3553804"/>
                </a:lnTo>
                <a:lnTo>
                  <a:pt x="2678950" y="3580563"/>
                </a:lnTo>
                <a:lnTo>
                  <a:pt x="2635836" y="3605836"/>
                </a:lnTo>
                <a:lnTo>
                  <a:pt x="2589751" y="3628136"/>
                </a:lnTo>
                <a:lnTo>
                  <a:pt x="2545151" y="3645976"/>
                </a:lnTo>
                <a:lnTo>
                  <a:pt x="2499064" y="3657869"/>
                </a:lnTo>
                <a:lnTo>
                  <a:pt x="2451493" y="3662328"/>
                </a:lnTo>
                <a:lnTo>
                  <a:pt x="2403920" y="3657869"/>
                </a:lnTo>
                <a:lnTo>
                  <a:pt x="2357833" y="3645976"/>
                </a:lnTo>
                <a:lnTo>
                  <a:pt x="2313235" y="3628136"/>
                </a:lnTo>
                <a:lnTo>
                  <a:pt x="2267148" y="3605836"/>
                </a:lnTo>
                <a:lnTo>
                  <a:pt x="2224034" y="3580563"/>
                </a:lnTo>
                <a:lnTo>
                  <a:pt x="2179435" y="3553804"/>
                </a:lnTo>
                <a:lnTo>
                  <a:pt x="2134835" y="3530017"/>
                </a:lnTo>
                <a:lnTo>
                  <a:pt x="2090236" y="3506230"/>
                </a:lnTo>
                <a:lnTo>
                  <a:pt x="2045637" y="3488392"/>
                </a:lnTo>
                <a:lnTo>
                  <a:pt x="1999551" y="3476498"/>
                </a:lnTo>
                <a:lnTo>
                  <a:pt x="1953464" y="3470551"/>
                </a:lnTo>
                <a:lnTo>
                  <a:pt x="1904403" y="3470551"/>
                </a:lnTo>
                <a:lnTo>
                  <a:pt x="1853857" y="3473525"/>
                </a:lnTo>
                <a:lnTo>
                  <a:pt x="1803312" y="3479470"/>
                </a:lnTo>
                <a:lnTo>
                  <a:pt x="1752765" y="3486905"/>
                </a:lnTo>
                <a:lnTo>
                  <a:pt x="1702217" y="3492850"/>
                </a:lnTo>
                <a:lnTo>
                  <a:pt x="1651672" y="3497311"/>
                </a:lnTo>
                <a:lnTo>
                  <a:pt x="1604101" y="3495825"/>
                </a:lnTo>
                <a:lnTo>
                  <a:pt x="1558015" y="3489878"/>
                </a:lnTo>
                <a:lnTo>
                  <a:pt x="1513414" y="3476498"/>
                </a:lnTo>
                <a:lnTo>
                  <a:pt x="1476248" y="3457171"/>
                </a:lnTo>
                <a:lnTo>
                  <a:pt x="1440567" y="3431897"/>
                </a:lnTo>
                <a:lnTo>
                  <a:pt x="1409349" y="3402165"/>
                </a:lnTo>
                <a:lnTo>
                  <a:pt x="1378128" y="3367972"/>
                </a:lnTo>
                <a:lnTo>
                  <a:pt x="1349882" y="3332293"/>
                </a:lnTo>
                <a:lnTo>
                  <a:pt x="1321636" y="3295126"/>
                </a:lnTo>
                <a:lnTo>
                  <a:pt x="1293389" y="3257961"/>
                </a:lnTo>
                <a:lnTo>
                  <a:pt x="1265143" y="3222281"/>
                </a:lnTo>
                <a:lnTo>
                  <a:pt x="1235409" y="3188088"/>
                </a:lnTo>
                <a:lnTo>
                  <a:pt x="1201216" y="3158355"/>
                </a:lnTo>
                <a:lnTo>
                  <a:pt x="1168509" y="3131595"/>
                </a:lnTo>
                <a:lnTo>
                  <a:pt x="1131343" y="3110783"/>
                </a:lnTo>
                <a:lnTo>
                  <a:pt x="1091204" y="3092943"/>
                </a:lnTo>
                <a:lnTo>
                  <a:pt x="1048091" y="3078077"/>
                </a:lnTo>
                <a:lnTo>
                  <a:pt x="1003491" y="3064697"/>
                </a:lnTo>
                <a:lnTo>
                  <a:pt x="958893" y="3052803"/>
                </a:lnTo>
                <a:lnTo>
                  <a:pt x="912806" y="3040909"/>
                </a:lnTo>
                <a:lnTo>
                  <a:pt x="869693" y="3027530"/>
                </a:lnTo>
                <a:lnTo>
                  <a:pt x="826579" y="3012663"/>
                </a:lnTo>
                <a:lnTo>
                  <a:pt x="786441" y="2994823"/>
                </a:lnTo>
                <a:lnTo>
                  <a:pt x="750760" y="2972523"/>
                </a:lnTo>
                <a:lnTo>
                  <a:pt x="718053" y="2945763"/>
                </a:lnTo>
                <a:lnTo>
                  <a:pt x="691295" y="2913058"/>
                </a:lnTo>
                <a:lnTo>
                  <a:pt x="668996" y="2877378"/>
                </a:lnTo>
                <a:lnTo>
                  <a:pt x="651155" y="2837238"/>
                </a:lnTo>
                <a:lnTo>
                  <a:pt x="636289" y="2794126"/>
                </a:lnTo>
                <a:lnTo>
                  <a:pt x="622909" y="2751014"/>
                </a:lnTo>
                <a:lnTo>
                  <a:pt x="611016" y="2704927"/>
                </a:lnTo>
                <a:lnTo>
                  <a:pt x="599122" y="2660328"/>
                </a:lnTo>
                <a:lnTo>
                  <a:pt x="585742" y="2615729"/>
                </a:lnTo>
                <a:lnTo>
                  <a:pt x="570876" y="2572614"/>
                </a:lnTo>
                <a:lnTo>
                  <a:pt x="553035" y="2532474"/>
                </a:lnTo>
                <a:lnTo>
                  <a:pt x="532222" y="2495309"/>
                </a:lnTo>
                <a:lnTo>
                  <a:pt x="505464" y="2462603"/>
                </a:lnTo>
                <a:lnTo>
                  <a:pt x="475730" y="2428409"/>
                </a:lnTo>
                <a:lnTo>
                  <a:pt x="441537" y="2398677"/>
                </a:lnTo>
                <a:lnTo>
                  <a:pt x="404369" y="2370431"/>
                </a:lnTo>
                <a:lnTo>
                  <a:pt x="367204" y="2342185"/>
                </a:lnTo>
                <a:lnTo>
                  <a:pt x="330038" y="2313939"/>
                </a:lnTo>
                <a:lnTo>
                  <a:pt x="294358" y="2285691"/>
                </a:lnTo>
                <a:lnTo>
                  <a:pt x="260165" y="2254473"/>
                </a:lnTo>
                <a:lnTo>
                  <a:pt x="230432" y="2223253"/>
                </a:lnTo>
                <a:lnTo>
                  <a:pt x="205160" y="2187573"/>
                </a:lnTo>
                <a:lnTo>
                  <a:pt x="185834" y="2150408"/>
                </a:lnTo>
                <a:lnTo>
                  <a:pt x="172453" y="2105809"/>
                </a:lnTo>
                <a:lnTo>
                  <a:pt x="166507" y="2059722"/>
                </a:lnTo>
                <a:lnTo>
                  <a:pt x="165019" y="2012148"/>
                </a:lnTo>
                <a:lnTo>
                  <a:pt x="169479" y="1961602"/>
                </a:lnTo>
                <a:lnTo>
                  <a:pt x="175426" y="1911057"/>
                </a:lnTo>
                <a:lnTo>
                  <a:pt x="182859" y="1860510"/>
                </a:lnTo>
                <a:lnTo>
                  <a:pt x="188806" y="1809964"/>
                </a:lnTo>
                <a:lnTo>
                  <a:pt x="191780" y="1759419"/>
                </a:lnTo>
                <a:lnTo>
                  <a:pt x="191780" y="1710358"/>
                </a:lnTo>
                <a:lnTo>
                  <a:pt x="185834" y="1664274"/>
                </a:lnTo>
                <a:lnTo>
                  <a:pt x="173940" y="1618187"/>
                </a:lnTo>
                <a:lnTo>
                  <a:pt x="156100" y="1575073"/>
                </a:lnTo>
                <a:lnTo>
                  <a:pt x="133800" y="1530474"/>
                </a:lnTo>
                <a:lnTo>
                  <a:pt x="108526" y="1485876"/>
                </a:lnTo>
                <a:lnTo>
                  <a:pt x="81768" y="1441276"/>
                </a:lnTo>
                <a:lnTo>
                  <a:pt x="56494" y="1398162"/>
                </a:lnTo>
                <a:lnTo>
                  <a:pt x="34193" y="1352077"/>
                </a:lnTo>
                <a:lnTo>
                  <a:pt x="16355" y="1307477"/>
                </a:lnTo>
                <a:lnTo>
                  <a:pt x="4461" y="1261390"/>
                </a:lnTo>
                <a:lnTo>
                  <a:pt x="0" y="1213817"/>
                </a:lnTo>
                <a:lnTo>
                  <a:pt x="4461" y="1166246"/>
                </a:lnTo>
                <a:lnTo>
                  <a:pt x="16355" y="1120160"/>
                </a:lnTo>
                <a:lnTo>
                  <a:pt x="34193" y="1075560"/>
                </a:lnTo>
                <a:lnTo>
                  <a:pt x="56494" y="1029475"/>
                </a:lnTo>
                <a:lnTo>
                  <a:pt x="81768" y="986360"/>
                </a:lnTo>
                <a:lnTo>
                  <a:pt x="108526" y="941762"/>
                </a:lnTo>
                <a:lnTo>
                  <a:pt x="133800" y="897162"/>
                </a:lnTo>
                <a:lnTo>
                  <a:pt x="156100" y="852563"/>
                </a:lnTo>
                <a:lnTo>
                  <a:pt x="173940" y="809449"/>
                </a:lnTo>
                <a:lnTo>
                  <a:pt x="185834" y="763363"/>
                </a:lnTo>
                <a:lnTo>
                  <a:pt x="191780" y="717278"/>
                </a:lnTo>
                <a:lnTo>
                  <a:pt x="191780" y="668219"/>
                </a:lnTo>
                <a:lnTo>
                  <a:pt x="188806" y="617672"/>
                </a:lnTo>
                <a:lnTo>
                  <a:pt x="182859" y="567126"/>
                </a:lnTo>
                <a:lnTo>
                  <a:pt x="175426" y="516579"/>
                </a:lnTo>
                <a:lnTo>
                  <a:pt x="169479" y="466034"/>
                </a:lnTo>
                <a:lnTo>
                  <a:pt x="165019" y="415488"/>
                </a:lnTo>
                <a:lnTo>
                  <a:pt x="166507" y="367916"/>
                </a:lnTo>
                <a:lnTo>
                  <a:pt x="172453" y="321830"/>
                </a:lnTo>
                <a:lnTo>
                  <a:pt x="185834" y="277229"/>
                </a:lnTo>
                <a:lnTo>
                  <a:pt x="205160" y="240064"/>
                </a:lnTo>
                <a:lnTo>
                  <a:pt x="230432" y="204384"/>
                </a:lnTo>
                <a:lnTo>
                  <a:pt x="260165" y="173164"/>
                </a:lnTo>
                <a:lnTo>
                  <a:pt x="294358" y="141946"/>
                </a:lnTo>
                <a:lnTo>
                  <a:pt x="330038" y="113697"/>
                </a:lnTo>
                <a:lnTo>
                  <a:pt x="367204" y="85451"/>
                </a:lnTo>
                <a:lnTo>
                  <a:pt x="404369" y="57205"/>
                </a:lnTo>
                <a:lnTo>
                  <a:pt x="441537" y="289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026" name="Picture 2" descr="Saiba como aumentar suas vendas B2B com email marketing - GoTo Marketing">
            <a:extLst>
              <a:ext uri="{FF2B5EF4-FFF2-40B4-BE49-F238E27FC236}">
                <a16:creationId xmlns:a16="http://schemas.microsoft.com/office/drawing/2014/main" id="{2D44B714-3FB1-46D3-A205-419B32CE7A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65998" y="1074347"/>
            <a:ext cx="3492500" cy="139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40131DE2-48F2-41BE-8535-4A206FF421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17634" y="3937132"/>
            <a:ext cx="3374366" cy="2920866"/>
          </a:xfrm>
          <a:custGeom>
            <a:avLst/>
            <a:gdLst>
              <a:gd name="connsiteX0" fmla="*/ 1989664 w 3374366"/>
              <a:gd name="connsiteY0" fmla="*/ 0 h 2920866"/>
              <a:gd name="connsiteX1" fmla="*/ 2028274 w 3374366"/>
              <a:gd name="connsiteY1" fmla="*/ 3619 h 2920866"/>
              <a:gd name="connsiteX2" fmla="*/ 2065678 w 3374366"/>
              <a:gd name="connsiteY2" fmla="*/ 13272 h 2920866"/>
              <a:gd name="connsiteX3" fmla="*/ 2101877 w 3374366"/>
              <a:gd name="connsiteY3" fmla="*/ 27751 h 2920866"/>
              <a:gd name="connsiteX4" fmla="*/ 2139280 w 3374366"/>
              <a:gd name="connsiteY4" fmla="*/ 45850 h 2920866"/>
              <a:gd name="connsiteX5" fmla="*/ 2174272 w 3374366"/>
              <a:gd name="connsiteY5" fmla="*/ 66362 h 2920866"/>
              <a:gd name="connsiteX6" fmla="*/ 2210470 w 3374366"/>
              <a:gd name="connsiteY6" fmla="*/ 88081 h 2920866"/>
              <a:gd name="connsiteX7" fmla="*/ 2246667 w 3374366"/>
              <a:gd name="connsiteY7" fmla="*/ 107386 h 2920866"/>
              <a:gd name="connsiteX8" fmla="*/ 2282864 w 3374366"/>
              <a:gd name="connsiteY8" fmla="*/ 126692 h 2920866"/>
              <a:gd name="connsiteX9" fmla="*/ 2317856 w 3374366"/>
              <a:gd name="connsiteY9" fmla="*/ 141170 h 2920866"/>
              <a:gd name="connsiteX10" fmla="*/ 2356466 w 3374366"/>
              <a:gd name="connsiteY10" fmla="*/ 150823 h 2920866"/>
              <a:gd name="connsiteX11" fmla="*/ 2393870 w 3374366"/>
              <a:gd name="connsiteY11" fmla="*/ 155650 h 2920866"/>
              <a:gd name="connsiteX12" fmla="*/ 2433687 w 3374366"/>
              <a:gd name="connsiteY12" fmla="*/ 155650 h 2920866"/>
              <a:gd name="connsiteX13" fmla="*/ 2474712 w 3374366"/>
              <a:gd name="connsiteY13" fmla="*/ 153237 h 2920866"/>
              <a:gd name="connsiteX14" fmla="*/ 2515735 w 3374366"/>
              <a:gd name="connsiteY14" fmla="*/ 148410 h 2920866"/>
              <a:gd name="connsiteX15" fmla="*/ 2556760 w 3374366"/>
              <a:gd name="connsiteY15" fmla="*/ 142378 h 2920866"/>
              <a:gd name="connsiteX16" fmla="*/ 2597783 w 3374366"/>
              <a:gd name="connsiteY16" fmla="*/ 137551 h 2920866"/>
              <a:gd name="connsiteX17" fmla="*/ 2638808 w 3374366"/>
              <a:gd name="connsiteY17" fmla="*/ 133931 h 2920866"/>
              <a:gd name="connsiteX18" fmla="*/ 2677418 w 3374366"/>
              <a:gd name="connsiteY18" fmla="*/ 135137 h 2920866"/>
              <a:gd name="connsiteX19" fmla="*/ 2714822 w 3374366"/>
              <a:gd name="connsiteY19" fmla="*/ 139964 h 2920866"/>
              <a:gd name="connsiteX20" fmla="*/ 2751021 w 3374366"/>
              <a:gd name="connsiteY20" fmla="*/ 150823 h 2920866"/>
              <a:gd name="connsiteX21" fmla="*/ 2781186 w 3374366"/>
              <a:gd name="connsiteY21" fmla="*/ 166509 h 2920866"/>
              <a:gd name="connsiteX22" fmla="*/ 2810143 w 3374366"/>
              <a:gd name="connsiteY22" fmla="*/ 187021 h 2920866"/>
              <a:gd name="connsiteX23" fmla="*/ 2835482 w 3374366"/>
              <a:gd name="connsiteY23" fmla="*/ 211152 h 2920866"/>
              <a:gd name="connsiteX24" fmla="*/ 2860820 w 3374366"/>
              <a:gd name="connsiteY24" fmla="*/ 238903 h 2920866"/>
              <a:gd name="connsiteX25" fmla="*/ 2883745 w 3374366"/>
              <a:gd name="connsiteY25" fmla="*/ 267862 h 2920866"/>
              <a:gd name="connsiteX26" fmla="*/ 2906670 w 3374366"/>
              <a:gd name="connsiteY26" fmla="*/ 298027 h 2920866"/>
              <a:gd name="connsiteX27" fmla="*/ 2929596 w 3374366"/>
              <a:gd name="connsiteY27" fmla="*/ 328191 h 2920866"/>
              <a:gd name="connsiteX28" fmla="*/ 2952520 w 3374366"/>
              <a:gd name="connsiteY28" fmla="*/ 357149 h 2920866"/>
              <a:gd name="connsiteX29" fmla="*/ 2976653 w 3374366"/>
              <a:gd name="connsiteY29" fmla="*/ 384900 h 2920866"/>
              <a:gd name="connsiteX30" fmla="*/ 3004404 w 3374366"/>
              <a:gd name="connsiteY30" fmla="*/ 409033 h 2920866"/>
              <a:gd name="connsiteX31" fmla="*/ 3030950 w 3374366"/>
              <a:gd name="connsiteY31" fmla="*/ 430752 h 2920866"/>
              <a:gd name="connsiteX32" fmla="*/ 3061114 w 3374366"/>
              <a:gd name="connsiteY32" fmla="*/ 447642 h 2920866"/>
              <a:gd name="connsiteX33" fmla="*/ 3093692 w 3374366"/>
              <a:gd name="connsiteY33" fmla="*/ 462122 h 2920866"/>
              <a:gd name="connsiteX34" fmla="*/ 3128682 w 3374366"/>
              <a:gd name="connsiteY34" fmla="*/ 474187 h 2920866"/>
              <a:gd name="connsiteX35" fmla="*/ 3164879 w 3374366"/>
              <a:gd name="connsiteY35" fmla="*/ 485046 h 2920866"/>
              <a:gd name="connsiteX36" fmla="*/ 3201078 w 3374366"/>
              <a:gd name="connsiteY36" fmla="*/ 494700 h 2920866"/>
              <a:gd name="connsiteX37" fmla="*/ 3238482 w 3374366"/>
              <a:gd name="connsiteY37" fmla="*/ 504352 h 2920866"/>
              <a:gd name="connsiteX38" fmla="*/ 3273472 w 3374366"/>
              <a:gd name="connsiteY38" fmla="*/ 515212 h 2920866"/>
              <a:gd name="connsiteX39" fmla="*/ 3308463 w 3374366"/>
              <a:gd name="connsiteY39" fmla="*/ 527277 h 2920866"/>
              <a:gd name="connsiteX40" fmla="*/ 3341042 w 3374366"/>
              <a:gd name="connsiteY40" fmla="*/ 541757 h 2920866"/>
              <a:gd name="connsiteX41" fmla="*/ 3370000 w 3374366"/>
              <a:gd name="connsiteY41" fmla="*/ 559856 h 2920866"/>
              <a:gd name="connsiteX42" fmla="*/ 3374366 w 3374366"/>
              <a:gd name="connsiteY42" fmla="*/ 563428 h 2920866"/>
              <a:gd name="connsiteX43" fmla="*/ 3374366 w 3374366"/>
              <a:gd name="connsiteY43" fmla="*/ 2920866 h 2920866"/>
              <a:gd name="connsiteX44" fmla="*/ 321479 w 3374366"/>
              <a:gd name="connsiteY44" fmla="*/ 2920866 h 2920866"/>
              <a:gd name="connsiteX45" fmla="*/ 298028 w 3374366"/>
              <a:gd name="connsiteY45" fmla="*/ 2903043 h 2920866"/>
              <a:gd name="connsiteX46" fmla="*/ 267863 w 3374366"/>
              <a:gd name="connsiteY46" fmla="*/ 2880118 h 2920866"/>
              <a:gd name="connsiteX47" fmla="*/ 238904 w 3374366"/>
              <a:gd name="connsiteY47" fmla="*/ 2857192 h 2920866"/>
              <a:gd name="connsiteX48" fmla="*/ 211153 w 3374366"/>
              <a:gd name="connsiteY48" fmla="*/ 2831854 h 2920866"/>
              <a:gd name="connsiteX49" fmla="*/ 187021 w 3374366"/>
              <a:gd name="connsiteY49" fmla="*/ 2806516 h 2920866"/>
              <a:gd name="connsiteX50" fmla="*/ 166510 w 3374366"/>
              <a:gd name="connsiteY50" fmla="*/ 2777557 h 2920866"/>
              <a:gd name="connsiteX51" fmla="*/ 150825 w 3374366"/>
              <a:gd name="connsiteY51" fmla="*/ 2747394 h 2920866"/>
              <a:gd name="connsiteX52" fmla="*/ 139965 w 3374366"/>
              <a:gd name="connsiteY52" fmla="*/ 2711197 h 2920866"/>
              <a:gd name="connsiteX53" fmla="*/ 135139 w 3374366"/>
              <a:gd name="connsiteY53" fmla="*/ 2673792 h 2920866"/>
              <a:gd name="connsiteX54" fmla="*/ 133931 w 3374366"/>
              <a:gd name="connsiteY54" fmla="*/ 2635180 h 2920866"/>
              <a:gd name="connsiteX55" fmla="*/ 137551 w 3374366"/>
              <a:gd name="connsiteY55" fmla="*/ 2594157 h 2920866"/>
              <a:gd name="connsiteX56" fmla="*/ 142378 w 3374366"/>
              <a:gd name="connsiteY56" fmla="*/ 2553133 h 2920866"/>
              <a:gd name="connsiteX57" fmla="*/ 148410 w 3374366"/>
              <a:gd name="connsiteY57" fmla="*/ 2512109 h 2920866"/>
              <a:gd name="connsiteX58" fmla="*/ 153237 w 3374366"/>
              <a:gd name="connsiteY58" fmla="*/ 2471085 h 2920866"/>
              <a:gd name="connsiteX59" fmla="*/ 155651 w 3374366"/>
              <a:gd name="connsiteY59" fmla="*/ 2430062 h 2920866"/>
              <a:gd name="connsiteX60" fmla="*/ 155651 w 3374366"/>
              <a:gd name="connsiteY60" fmla="*/ 2390243 h 2920866"/>
              <a:gd name="connsiteX61" fmla="*/ 150825 w 3374366"/>
              <a:gd name="connsiteY61" fmla="*/ 2352841 h 2920866"/>
              <a:gd name="connsiteX62" fmla="*/ 141171 w 3374366"/>
              <a:gd name="connsiteY62" fmla="*/ 2315436 h 2920866"/>
              <a:gd name="connsiteX63" fmla="*/ 126692 w 3374366"/>
              <a:gd name="connsiteY63" fmla="*/ 2280444 h 2920866"/>
              <a:gd name="connsiteX64" fmla="*/ 108594 w 3374366"/>
              <a:gd name="connsiteY64" fmla="*/ 2244247 h 2920866"/>
              <a:gd name="connsiteX65" fmla="*/ 88081 w 3374366"/>
              <a:gd name="connsiteY65" fmla="*/ 2208051 h 2920866"/>
              <a:gd name="connsiteX66" fmla="*/ 66363 w 3374366"/>
              <a:gd name="connsiteY66" fmla="*/ 2171852 h 2920866"/>
              <a:gd name="connsiteX67" fmla="*/ 45851 w 3374366"/>
              <a:gd name="connsiteY67" fmla="*/ 2136860 h 2920866"/>
              <a:gd name="connsiteX68" fmla="*/ 27751 w 3374366"/>
              <a:gd name="connsiteY68" fmla="*/ 2099458 h 2920866"/>
              <a:gd name="connsiteX69" fmla="*/ 13273 w 3374366"/>
              <a:gd name="connsiteY69" fmla="*/ 2063259 h 2920866"/>
              <a:gd name="connsiteX70" fmla="*/ 3621 w 3374366"/>
              <a:gd name="connsiteY70" fmla="*/ 2025855 h 2920866"/>
              <a:gd name="connsiteX71" fmla="*/ 0 w 3374366"/>
              <a:gd name="connsiteY71" fmla="*/ 1987244 h 2920866"/>
              <a:gd name="connsiteX72" fmla="*/ 3621 w 3374366"/>
              <a:gd name="connsiteY72" fmla="*/ 1948634 h 2920866"/>
              <a:gd name="connsiteX73" fmla="*/ 13273 w 3374366"/>
              <a:gd name="connsiteY73" fmla="*/ 1911231 h 2920866"/>
              <a:gd name="connsiteX74" fmla="*/ 27751 w 3374366"/>
              <a:gd name="connsiteY74" fmla="*/ 1875032 h 2920866"/>
              <a:gd name="connsiteX75" fmla="*/ 45851 w 3374366"/>
              <a:gd name="connsiteY75" fmla="*/ 1837629 h 2920866"/>
              <a:gd name="connsiteX76" fmla="*/ 66363 w 3374366"/>
              <a:gd name="connsiteY76" fmla="*/ 1802637 h 2920866"/>
              <a:gd name="connsiteX77" fmla="*/ 88081 w 3374366"/>
              <a:gd name="connsiteY77" fmla="*/ 1766441 h 2920866"/>
              <a:gd name="connsiteX78" fmla="*/ 108594 w 3374366"/>
              <a:gd name="connsiteY78" fmla="*/ 1730242 h 2920866"/>
              <a:gd name="connsiteX79" fmla="*/ 126692 w 3374366"/>
              <a:gd name="connsiteY79" fmla="*/ 1694045 h 2920866"/>
              <a:gd name="connsiteX80" fmla="*/ 141171 w 3374366"/>
              <a:gd name="connsiteY80" fmla="*/ 1659053 h 2920866"/>
              <a:gd name="connsiteX81" fmla="*/ 150825 w 3374366"/>
              <a:gd name="connsiteY81" fmla="*/ 1621649 h 2920866"/>
              <a:gd name="connsiteX82" fmla="*/ 155651 w 3374366"/>
              <a:gd name="connsiteY82" fmla="*/ 1584246 h 2920866"/>
              <a:gd name="connsiteX83" fmla="*/ 155651 w 3374366"/>
              <a:gd name="connsiteY83" fmla="*/ 1544429 h 2920866"/>
              <a:gd name="connsiteX84" fmla="*/ 153237 w 3374366"/>
              <a:gd name="connsiteY84" fmla="*/ 1503404 h 2920866"/>
              <a:gd name="connsiteX85" fmla="*/ 148410 w 3374366"/>
              <a:gd name="connsiteY85" fmla="*/ 1462381 h 2920866"/>
              <a:gd name="connsiteX86" fmla="*/ 142378 w 3374366"/>
              <a:gd name="connsiteY86" fmla="*/ 1421356 h 2920866"/>
              <a:gd name="connsiteX87" fmla="*/ 137551 w 3374366"/>
              <a:gd name="connsiteY87" fmla="*/ 1380333 h 2920866"/>
              <a:gd name="connsiteX88" fmla="*/ 133931 w 3374366"/>
              <a:gd name="connsiteY88" fmla="*/ 1339309 h 2920866"/>
              <a:gd name="connsiteX89" fmla="*/ 135139 w 3374366"/>
              <a:gd name="connsiteY89" fmla="*/ 1300699 h 2920866"/>
              <a:gd name="connsiteX90" fmla="*/ 139965 w 3374366"/>
              <a:gd name="connsiteY90" fmla="*/ 1263295 h 2920866"/>
              <a:gd name="connsiteX91" fmla="*/ 150825 w 3374366"/>
              <a:gd name="connsiteY91" fmla="*/ 1227096 h 2920866"/>
              <a:gd name="connsiteX92" fmla="*/ 166510 w 3374366"/>
              <a:gd name="connsiteY92" fmla="*/ 1196933 h 2920866"/>
              <a:gd name="connsiteX93" fmla="*/ 187021 w 3374366"/>
              <a:gd name="connsiteY93" fmla="*/ 1167974 h 2920866"/>
              <a:gd name="connsiteX94" fmla="*/ 211153 w 3374366"/>
              <a:gd name="connsiteY94" fmla="*/ 1142636 h 2920866"/>
              <a:gd name="connsiteX95" fmla="*/ 238904 w 3374366"/>
              <a:gd name="connsiteY95" fmla="*/ 1117298 h 2920866"/>
              <a:gd name="connsiteX96" fmla="*/ 267863 w 3374366"/>
              <a:gd name="connsiteY96" fmla="*/ 1094371 h 2920866"/>
              <a:gd name="connsiteX97" fmla="*/ 298028 w 3374366"/>
              <a:gd name="connsiteY97" fmla="*/ 1071447 h 2920866"/>
              <a:gd name="connsiteX98" fmla="*/ 328191 w 3374366"/>
              <a:gd name="connsiteY98" fmla="*/ 1048522 h 2920866"/>
              <a:gd name="connsiteX99" fmla="*/ 358357 w 3374366"/>
              <a:gd name="connsiteY99" fmla="*/ 1025597 h 2920866"/>
              <a:gd name="connsiteX100" fmla="*/ 386108 w 3374366"/>
              <a:gd name="connsiteY100" fmla="*/ 1001466 h 2920866"/>
              <a:gd name="connsiteX101" fmla="*/ 410242 w 3374366"/>
              <a:gd name="connsiteY101" fmla="*/ 973715 h 2920866"/>
              <a:gd name="connsiteX102" fmla="*/ 431958 w 3374366"/>
              <a:gd name="connsiteY102" fmla="*/ 947169 h 2920866"/>
              <a:gd name="connsiteX103" fmla="*/ 448850 w 3374366"/>
              <a:gd name="connsiteY103" fmla="*/ 917005 h 2920866"/>
              <a:gd name="connsiteX104" fmla="*/ 463330 w 3374366"/>
              <a:gd name="connsiteY104" fmla="*/ 884427 h 2920866"/>
              <a:gd name="connsiteX105" fmla="*/ 475396 w 3374366"/>
              <a:gd name="connsiteY105" fmla="*/ 849436 h 2920866"/>
              <a:gd name="connsiteX106" fmla="*/ 486255 w 3374366"/>
              <a:gd name="connsiteY106" fmla="*/ 813237 h 2920866"/>
              <a:gd name="connsiteX107" fmla="*/ 495909 w 3374366"/>
              <a:gd name="connsiteY107" fmla="*/ 777040 h 2920866"/>
              <a:gd name="connsiteX108" fmla="*/ 505561 w 3374366"/>
              <a:gd name="connsiteY108" fmla="*/ 739636 h 2920866"/>
              <a:gd name="connsiteX109" fmla="*/ 516421 w 3374366"/>
              <a:gd name="connsiteY109" fmla="*/ 704646 h 2920866"/>
              <a:gd name="connsiteX110" fmla="*/ 528486 w 3374366"/>
              <a:gd name="connsiteY110" fmla="*/ 669654 h 2920866"/>
              <a:gd name="connsiteX111" fmla="*/ 542966 w 3374366"/>
              <a:gd name="connsiteY111" fmla="*/ 637077 h 2920866"/>
              <a:gd name="connsiteX112" fmla="*/ 561064 w 3374366"/>
              <a:gd name="connsiteY112" fmla="*/ 608119 h 2920866"/>
              <a:gd name="connsiteX113" fmla="*/ 582782 w 3374366"/>
              <a:gd name="connsiteY113" fmla="*/ 581574 h 2920866"/>
              <a:gd name="connsiteX114" fmla="*/ 609327 w 3374366"/>
              <a:gd name="connsiteY114" fmla="*/ 559856 h 2920866"/>
              <a:gd name="connsiteX115" fmla="*/ 638286 w 3374366"/>
              <a:gd name="connsiteY115" fmla="*/ 541757 h 2920866"/>
              <a:gd name="connsiteX116" fmla="*/ 670863 w 3374366"/>
              <a:gd name="connsiteY116" fmla="*/ 527277 h 2920866"/>
              <a:gd name="connsiteX117" fmla="*/ 705855 w 3374366"/>
              <a:gd name="connsiteY117" fmla="*/ 515212 h 2920866"/>
              <a:gd name="connsiteX118" fmla="*/ 740846 w 3374366"/>
              <a:gd name="connsiteY118" fmla="*/ 504352 h 2920866"/>
              <a:gd name="connsiteX119" fmla="*/ 778250 w 3374366"/>
              <a:gd name="connsiteY119" fmla="*/ 494700 h 2920866"/>
              <a:gd name="connsiteX120" fmla="*/ 814447 w 3374366"/>
              <a:gd name="connsiteY120" fmla="*/ 485046 h 2920866"/>
              <a:gd name="connsiteX121" fmla="*/ 850645 w 3374366"/>
              <a:gd name="connsiteY121" fmla="*/ 474187 h 2920866"/>
              <a:gd name="connsiteX122" fmla="*/ 885636 w 3374366"/>
              <a:gd name="connsiteY122" fmla="*/ 462122 h 2920866"/>
              <a:gd name="connsiteX123" fmla="*/ 918213 w 3374366"/>
              <a:gd name="connsiteY123" fmla="*/ 447642 h 2920866"/>
              <a:gd name="connsiteX124" fmla="*/ 948378 w 3374366"/>
              <a:gd name="connsiteY124" fmla="*/ 430752 h 2920866"/>
              <a:gd name="connsiteX125" fmla="*/ 974923 w 3374366"/>
              <a:gd name="connsiteY125" fmla="*/ 409033 h 2920866"/>
              <a:gd name="connsiteX126" fmla="*/ 1002675 w 3374366"/>
              <a:gd name="connsiteY126" fmla="*/ 384900 h 2920866"/>
              <a:gd name="connsiteX127" fmla="*/ 1026807 w 3374366"/>
              <a:gd name="connsiteY127" fmla="*/ 357149 h 2920866"/>
              <a:gd name="connsiteX128" fmla="*/ 1049732 w 3374366"/>
              <a:gd name="connsiteY128" fmla="*/ 328191 h 2920866"/>
              <a:gd name="connsiteX129" fmla="*/ 1072657 w 3374366"/>
              <a:gd name="connsiteY129" fmla="*/ 298027 h 2920866"/>
              <a:gd name="connsiteX130" fmla="*/ 1095582 w 3374366"/>
              <a:gd name="connsiteY130" fmla="*/ 267862 h 2920866"/>
              <a:gd name="connsiteX131" fmla="*/ 1118507 w 3374366"/>
              <a:gd name="connsiteY131" fmla="*/ 238903 h 2920866"/>
              <a:gd name="connsiteX132" fmla="*/ 1143846 w 3374366"/>
              <a:gd name="connsiteY132" fmla="*/ 211152 h 2920866"/>
              <a:gd name="connsiteX133" fmla="*/ 1169184 w 3374366"/>
              <a:gd name="connsiteY133" fmla="*/ 187021 h 2920866"/>
              <a:gd name="connsiteX134" fmla="*/ 1198142 w 3374366"/>
              <a:gd name="connsiteY134" fmla="*/ 166509 h 2920866"/>
              <a:gd name="connsiteX135" fmla="*/ 1228307 w 3374366"/>
              <a:gd name="connsiteY135" fmla="*/ 150823 h 2920866"/>
              <a:gd name="connsiteX136" fmla="*/ 1264505 w 3374366"/>
              <a:gd name="connsiteY136" fmla="*/ 139964 h 2920866"/>
              <a:gd name="connsiteX137" fmla="*/ 1301909 w 3374366"/>
              <a:gd name="connsiteY137" fmla="*/ 135137 h 2920866"/>
              <a:gd name="connsiteX138" fmla="*/ 1340519 w 3374366"/>
              <a:gd name="connsiteY138" fmla="*/ 133931 h 2920866"/>
              <a:gd name="connsiteX139" fmla="*/ 1381542 w 3374366"/>
              <a:gd name="connsiteY139" fmla="*/ 137551 h 2920866"/>
              <a:gd name="connsiteX140" fmla="*/ 1422567 w 3374366"/>
              <a:gd name="connsiteY140" fmla="*/ 142378 h 2920866"/>
              <a:gd name="connsiteX141" fmla="*/ 1463592 w 3374366"/>
              <a:gd name="connsiteY141" fmla="*/ 148410 h 2920866"/>
              <a:gd name="connsiteX142" fmla="*/ 1504615 w 3374366"/>
              <a:gd name="connsiteY142" fmla="*/ 153237 h 2920866"/>
              <a:gd name="connsiteX143" fmla="*/ 1545639 w 3374366"/>
              <a:gd name="connsiteY143" fmla="*/ 155650 h 2920866"/>
              <a:gd name="connsiteX144" fmla="*/ 1585457 w 3374366"/>
              <a:gd name="connsiteY144" fmla="*/ 155650 h 2920866"/>
              <a:gd name="connsiteX145" fmla="*/ 1622862 w 3374366"/>
              <a:gd name="connsiteY145" fmla="*/ 150823 h 2920866"/>
              <a:gd name="connsiteX146" fmla="*/ 1660266 w 3374366"/>
              <a:gd name="connsiteY146" fmla="*/ 141170 h 2920866"/>
              <a:gd name="connsiteX147" fmla="*/ 1696464 w 3374366"/>
              <a:gd name="connsiteY147" fmla="*/ 126692 h 2920866"/>
              <a:gd name="connsiteX148" fmla="*/ 1732660 w 3374366"/>
              <a:gd name="connsiteY148" fmla="*/ 107386 h 2920866"/>
              <a:gd name="connsiteX149" fmla="*/ 1768858 w 3374366"/>
              <a:gd name="connsiteY149" fmla="*/ 88081 h 2920866"/>
              <a:gd name="connsiteX150" fmla="*/ 1805055 w 3374366"/>
              <a:gd name="connsiteY150" fmla="*/ 66362 h 2920866"/>
              <a:gd name="connsiteX151" fmla="*/ 1840048 w 3374366"/>
              <a:gd name="connsiteY151" fmla="*/ 45850 h 2920866"/>
              <a:gd name="connsiteX152" fmla="*/ 1877452 w 3374366"/>
              <a:gd name="connsiteY152" fmla="*/ 27751 h 2920866"/>
              <a:gd name="connsiteX153" fmla="*/ 1913649 w 3374366"/>
              <a:gd name="connsiteY153" fmla="*/ 13272 h 2920866"/>
              <a:gd name="connsiteX154" fmla="*/ 1951053 w 3374366"/>
              <a:gd name="connsiteY154" fmla="*/ 3619 h 2920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3374366" h="2920866">
                <a:moveTo>
                  <a:pt x="1989664" y="0"/>
                </a:moveTo>
                <a:lnTo>
                  <a:pt x="2028274" y="3619"/>
                </a:lnTo>
                <a:lnTo>
                  <a:pt x="2065678" y="13272"/>
                </a:lnTo>
                <a:lnTo>
                  <a:pt x="2101877" y="27751"/>
                </a:lnTo>
                <a:lnTo>
                  <a:pt x="2139280" y="45850"/>
                </a:lnTo>
                <a:lnTo>
                  <a:pt x="2174272" y="66362"/>
                </a:lnTo>
                <a:lnTo>
                  <a:pt x="2210470" y="88081"/>
                </a:lnTo>
                <a:lnTo>
                  <a:pt x="2246667" y="107386"/>
                </a:lnTo>
                <a:lnTo>
                  <a:pt x="2282864" y="126692"/>
                </a:lnTo>
                <a:lnTo>
                  <a:pt x="2317856" y="141170"/>
                </a:lnTo>
                <a:lnTo>
                  <a:pt x="2356466" y="150823"/>
                </a:lnTo>
                <a:lnTo>
                  <a:pt x="2393870" y="155650"/>
                </a:lnTo>
                <a:lnTo>
                  <a:pt x="2433687" y="155650"/>
                </a:lnTo>
                <a:lnTo>
                  <a:pt x="2474712" y="153237"/>
                </a:lnTo>
                <a:lnTo>
                  <a:pt x="2515735" y="148410"/>
                </a:lnTo>
                <a:lnTo>
                  <a:pt x="2556760" y="142378"/>
                </a:lnTo>
                <a:lnTo>
                  <a:pt x="2597783" y="137551"/>
                </a:lnTo>
                <a:lnTo>
                  <a:pt x="2638808" y="133931"/>
                </a:lnTo>
                <a:lnTo>
                  <a:pt x="2677418" y="135137"/>
                </a:lnTo>
                <a:lnTo>
                  <a:pt x="2714822" y="139964"/>
                </a:lnTo>
                <a:lnTo>
                  <a:pt x="2751021" y="150823"/>
                </a:lnTo>
                <a:lnTo>
                  <a:pt x="2781186" y="166509"/>
                </a:lnTo>
                <a:lnTo>
                  <a:pt x="2810143" y="187021"/>
                </a:lnTo>
                <a:lnTo>
                  <a:pt x="2835482" y="211152"/>
                </a:lnTo>
                <a:lnTo>
                  <a:pt x="2860820" y="238903"/>
                </a:lnTo>
                <a:lnTo>
                  <a:pt x="2883745" y="267862"/>
                </a:lnTo>
                <a:lnTo>
                  <a:pt x="2906670" y="298027"/>
                </a:lnTo>
                <a:lnTo>
                  <a:pt x="2929596" y="328191"/>
                </a:lnTo>
                <a:lnTo>
                  <a:pt x="2952520" y="357149"/>
                </a:lnTo>
                <a:lnTo>
                  <a:pt x="2976653" y="384900"/>
                </a:lnTo>
                <a:lnTo>
                  <a:pt x="3004404" y="409033"/>
                </a:lnTo>
                <a:lnTo>
                  <a:pt x="3030950" y="430752"/>
                </a:lnTo>
                <a:lnTo>
                  <a:pt x="3061114" y="447642"/>
                </a:lnTo>
                <a:lnTo>
                  <a:pt x="3093692" y="462122"/>
                </a:lnTo>
                <a:lnTo>
                  <a:pt x="3128682" y="474187"/>
                </a:lnTo>
                <a:lnTo>
                  <a:pt x="3164879" y="485046"/>
                </a:lnTo>
                <a:lnTo>
                  <a:pt x="3201078" y="494700"/>
                </a:lnTo>
                <a:lnTo>
                  <a:pt x="3238482" y="504352"/>
                </a:lnTo>
                <a:lnTo>
                  <a:pt x="3273472" y="515212"/>
                </a:lnTo>
                <a:lnTo>
                  <a:pt x="3308463" y="527277"/>
                </a:lnTo>
                <a:lnTo>
                  <a:pt x="3341042" y="541757"/>
                </a:lnTo>
                <a:lnTo>
                  <a:pt x="3370000" y="559856"/>
                </a:lnTo>
                <a:lnTo>
                  <a:pt x="3374366" y="563428"/>
                </a:lnTo>
                <a:lnTo>
                  <a:pt x="3374366" y="2920866"/>
                </a:lnTo>
                <a:lnTo>
                  <a:pt x="321479" y="2920866"/>
                </a:lnTo>
                <a:lnTo>
                  <a:pt x="298028" y="2903043"/>
                </a:lnTo>
                <a:lnTo>
                  <a:pt x="267863" y="2880118"/>
                </a:lnTo>
                <a:lnTo>
                  <a:pt x="238904" y="2857192"/>
                </a:lnTo>
                <a:lnTo>
                  <a:pt x="211153" y="2831854"/>
                </a:lnTo>
                <a:lnTo>
                  <a:pt x="187021" y="2806516"/>
                </a:lnTo>
                <a:lnTo>
                  <a:pt x="166510" y="2777557"/>
                </a:lnTo>
                <a:lnTo>
                  <a:pt x="150825" y="2747394"/>
                </a:lnTo>
                <a:lnTo>
                  <a:pt x="139965" y="2711197"/>
                </a:lnTo>
                <a:lnTo>
                  <a:pt x="135139" y="2673792"/>
                </a:lnTo>
                <a:lnTo>
                  <a:pt x="133931" y="2635180"/>
                </a:lnTo>
                <a:lnTo>
                  <a:pt x="137551" y="2594157"/>
                </a:lnTo>
                <a:lnTo>
                  <a:pt x="142378" y="2553133"/>
                </a:lnTo>
                <a:lnTo>
                  <a:pt x="148410" y="2512109"/>
                </a:lnTo>
                <a:lnTo>
                  <a:pt x="153237" y="2471085"/>
                </a:lnTo>
                <a:lnTo>
                  <a:pt x="155651" y="2430062"/>
                </a:lnTo>
                <a:lnTo>
                  <a:pt x="155651" y="2390243"/>
                </a:lnTo>
                <a:lnTo>
                  <a:pt x="150825" y="2352841"/>
                </a:lnTo>
                <a:lnTo>
                  <a:pt x="141171" y="2315436"/>
                </a:lnTo>
                <a:lnTo>
                  <a:pt x="126692" y="2280444"/>
                </a:lnTo>
                <a:lnTo>
                  <a:pt x="108594" y="2244247"/>
                </a:lnTo>
                <a:lnTo>
                  <a:pt x="88081" y="2208051"/>
                </a:lnTo>
                <a:lnTo>
                  <a:pt x="66363" y="2171852"/>
                </a:lnTo>
                <a:lnTo>
                  <a:pt x="45851" y="2136860"/>
                </a:lnTo>
                <a:lnTo>
                  <a:pt x="27751" y="2099458"/>
                </a:lnTo>
                <a:lnTo>
                  <a:pt x="13273" y="2063259"/>
                </a:lnTo>
                <a:lnTo>
                  <a:pt x="3621" y="2025855"/>
                </a:lnTo>
                <a:lnTo>
                  <a:pt x="0" y="1987244"/>
                </a:lnTo>
                <a:lnTo>
                  <a:pt x="3621" y="1948634"/>
                </a:lnTo>
                <a:lnTo>
                  <a:pt x="13273" y="1911231"/>
                </a:lnTo>
                <a:lnTo>
                  <a:pt x="27751" y="1875032"/>
                </a:lnTo>
                <a:lnTo>
                  <a:pt x="45851" y="1837629"/>
                </a:lnTo>
                <a:lnTo>
                  <a:pt x="66363" y="1802637"/>
                </a:lnTo>
                <a:lnTo>
                  <a:pt x="88081" y="1766441"/>
                </a:lnTo>
                <a:lnTo>
                  <a:pt x="108594" y="1730242"/>
                </a:lnTo>
                <a:lnTo>
                  <a:pt x="126692" y="1694045"/>
                </a:lnTo>
                <a:lnTo>
                  <a:pt x="141171" y="1659053"/>
                </a:lnTo>
                <a:lnTo>
                  <a:pt x="150825" y="1621649"/>
                </a:lnTo>
                <a:lnTo>
                  <a:pt x="155651" y="1584246"/>
                </a:lnTo>
                <a:lnTo>
                  <a:pt x="155651" y="1544429"/>
                </a:lnTo>
                <a:lnTo>
                  <a:pt x="153237" y="1503404"/>
                </a:lnTo>
                <a:lnTo>
                  <a:pt x="148410" y="1462381"/>
                </a:lnTo>
                <a:lnTo>
                  <a:pt x="142378" y="1421356"/>
                </a:lnTo>
                <a:lnTo>
                  <a:pt x="137551" y="1380333"/>
                </a:lnTo>
                <a:lnTo>
                  <a:pt x="133931" y="1339309"/>
                </a:lnTo>
                <a:lnTo>
                  <a:pt x="135139" y="1300699"/>
                </a:lnTo>
                <a:lnTo>
                  <a:pt x="139965" y="1263295"/>
                </a:lnTo>
                <a:lnTo>
                  <a:pt x="150825" y="1227096"/>
                </a:lnTo>
                <a:lnTo>
                  <a:pt x="166510" y="1196933"/>
                </a:lnTo>
                <a:lnTo>
                  <a:pt x="187021" y="1167974"/>
                </a:lnTo>
                <a:lnTo>
                  <a:pt x="211153" y="1142636"/>
                </a:lnTo>
                <a:lnTo>
                  <a:pt x="238904" y="1117298"/>
                </a:lnTo>
                <a:lnTo>
                  <a:pt x="267863" y="1094371"/>
                </a:lnTo>
                <a:lnTo>
                  <a:pt x="298028" y="1071447"/>
                </a:lnTo>
                <a:lnTo>
                  <a:pt x="328191" y="1048522"/>
                </a:lnTo>
                <a:lnTo>
                  <a:pt x="358357" y="1025597"/>
                </a:lnTo>
                <a:lnTo>
                  <a:pt x="386108" y="1001466"/>
                </a:lnTo>
                <a:lnTo>
                  <a:pt x="410242" y="973715"/>
                </a:lnTo>
                <a:lnTo>
                  <a:pt x="431958" y="947169"/>
                </a:lnTo>
                <a:lnTo>
                  <a:pt x="448850" y="917005"/>
                </a:lnTo>
                <a:lnTo>
                  <a:pt x="463330" y="884427"/>
                </a:lnTo>
                <a:lnTo>
                  <a:pt x="475396" y="849436"/>
                </a:lnTo>
                <a:lnTo>
                  <a:pt x="486255" y="813237"/>
                </a:lnTo>
                <a:lnTo>
                  <a:pt x="495909" y="777040"/>
                </a:lnTo>
                <a:lnTo>
                  <a:pt x="505561" y="739636"/>
                </a:lnTo>
                <a:lnTo>
                  <a:pt x="516421" y="704646"/>
                </a:lnTo>
                <a:lnTo>
                  <a:pt x="528486" y="669654"/>
                </a:lnTo>
                <a:lnTo>
                  <a:pt x="542966" y="637077"/>
                </a:lnTo>
                <a:lnTo>
                  <a:pt x="561064" y="608119"/>
                </a:lnTo>
                <a:lnTo>
                  <a:pt x="582782" y="581574"/>
                </a:lnTo>
                <a:lnTo>
                  <a:pt x="609327" y="559856"/>
                </a:lnTo>
                <a:lnTo>
                  <a:pt x="638286" y="541757"/>
                </a:lnTo>
                <a:lnTo>
                  <a:pt x="670863" y="527277"/>
                </a:lnTo>
                <a:lnTo>
                  <a:pt x="705855" y="515212"/>
                </a:lnTo>
                <a:lnTo>
                  <a:pt x="740846" y="504352"/>
                </a:lnTo>
                <a:lnTo>
                  <a:pt x="778250" y="494700"/>
                </a:lnTo>
                <a:lnTo>
                  <a:pt x="814447" y="485046"/>
                </a:lnTo>
                <a:lnTo>
                  <a:pt x="850645" y="474187"/>
                </a:lnTo>
                <a:lnTo>
                  <a:pt x="885636" y="462122"/>
                </a:lnTo>
                <a:lnTo>
                  <a:pt x="918213" y="447642"/>
                </a:lnTo>
                <a:lnTo>
                  <a:pt x="948378" y="430752"/>
                </a:lnTo>
                <a:lnTo>
                  <a:pt x="974923" y="409033"/>
                </a:lnTo>
                <a:lnTo>
                  <a:pt x="1002675" y="384900"/>
                </a:lnTo>
                <a:lnTo>
                  <a:pt x="1026807" y="357149"/>
                </a:lnTo>
                <a:lnTo>
                  <a:pt x="1049732" y="328191"/>
                </a:lnTo>
                <a:lnTo>
                  <a:pt x="1072657" y="298027"/>
                </a:lnTo>
                <a:lnTo>
                  <a:pt x="1095582" y="267862"/>
                </a:lnTo>
                <a:lnTo>
                  <a:pt x="1118507" y="238903"/>
                </a:lnTo>
                <a:lnTo>
                  <a:pt x="1143846" y="211152"/>
                </a:lnTo>
                <a:lnTo>
                  <a:pt x="1169184" y="187021"/>
                </a:lnTo>
                <a:lnTo>
                  <a:pt x="1198142" y="166509"/>
                </a:lnTo>
                <a:lnTo>
                  <a:pt x="1228307" y="150823"/>
                </a:lnTo>
                <a:lnTo>
                  <a:pt x="1264505" y="139964"/>
                </a:lnTo>
                <a:lnTo>
                  <a:pt x="1301909" y="135137"/>
                </a:lnTo>
                <a:lnTo>
                  <a:pt x="1340519" y="133931"/>
                </a:lnTo>
                <a:lnTo>
                  <a:pt x="1381542" y="137551"/>
                </a:lnTo>
                <a:lnTo>
                  <a:pt x="1422567" y="142378"/>
                </a:lnTo>
                <a:lnTo>
                  <a:pt x="1463592" y="148410"/>
                </a:lnTo>
                <a:lnTo>
                  <a:pt x="1504615" y="153237"/>
                </a:lnTo>
                <a:lnTo>
                  <a:pt x="1545639" y="155650"/>
                </a:lnTo>
                <a:lnTo>
                  <a:pt x="1585457" y="155650"/>
                </a:lnTo>
                <a:lnTo>
                  <a:pt x="1622862" y="150823"/>
                </a:lnTo>
                <a:lnTo>
                  <a:pt x="1660266" y="141170"/>
                </a:lnTo>
                <a:lnTo>
                  <a:pt x="1696464" y="126692"/>
                </a:lnTo>
                <a:lnTo>
                  <a:pt x="1732660" y="107386"/>
                </a:lnTo>
                <a:lnTo>
                  <a:pt x="1768858" y="88081"/>
                </a:lnTo>
                <a:lnTo>
                  <a:pt x="1805055" y="66362"/>
                </a:lnTo>
                <a:lnTo>
                  <a:pt x="1840048" y="45850"/>
                </a:lnTo>
                <a:lnTo>
                  <a:pt x="1877452" y="27751"/>
                </a:lnTo>
                <a:lnTo>
                  <a:pt x="1913649" y="13272"/>
                </a:lnTo>
                <a:lnTo>
                  <a:pt x="1951053" y="3619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B36146CD-7044-4FDA-9DEE-81D4301C82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14596" y="4033978"/>
            <a:ext cx="3277404" cy="2824020"/>
          </a:xfrm>
          <a:custGeom>
            <a:avLst/>
            <a:gdLst>
              <a:gd name="connsiteX0" fmla="*/ 1892703 w 3277404"/>
              <a:gd name="connsiteY0" fmla="*/ 0 h 2824020"/>
              <a:gd name="connsiteX1" fmla="*/ 1929431 w 3277404"/>
              <a:gd name="connsiteY1" fmla="*/ 3443 h 2824020"/>
              <a:gd name="connsiteX2" fmla="*/ 1965012 w 3277404"/>
              <a:gd name="connsiteY2" fmla="*/ 12625 h 2824020"/>
              <a:gd name="connsiteX3" fmla="*/ 1999447 w 3277404"/>
              <a:gd name="connsiteY3" fmla="*/ 26399 h 2824020"/>
              <a:gd name="connsiteX4" fmla="*/ 2035027 w 3277404"/>
              <a:gd name="connsiteY4" fmla="*/ 43615 h 2824020"/>
              <a:gd name="connsiteX5" fmla="*/ 2068314 w 3277404"/>
              <a:gd name="connsiteY5" fmla="*/ 63128 h 2824020"/>
              <a:gd name="connsiteX6" fmla="*/ 2102748 w 3277404"/>
              <a:gd name="connsiteY6" fmla="*/ 83788 h 2824020"/>
              <a:gd name="connsiteX7" fmla="*/ 2137181 w 3277404"/>
              <a:gd name="connsiteY7" fmla="*/ 102152 h 2824020"/>
              <a:gd name="connsiteX8" fmla="*/ 2171614 w 3277404"/>
              <a:gd name="connsiteY8" fmla="*/ 120518 h 2824020"/>
              <a:gd name="connsiteX9" fmla="*/ 2204900 w 3277404"/>
              <a:gd name="connsiteY9" fmla="*/ 134290 h 2824020"/>
              <a:gd name="connsiteX10" fmla="*/ 2241630 w 3277404"/>
              <a:gd name="connsiteY10" fmla="*/ 143473 h 2824020"/>
              <a:gd name="connsiteX11" fmla="*/ 2277210 w 3277404"/>
              <a:gd name="connsiteY11" fmla="*/ 148064 h 2824020"/>
              <a:gd name="connsiteX12" fmla="*/ 2315087 w 3277404"/>
              <a:gd name="connsiteY12" fmla="*/ 148064 h 2824020"/>
              <a:gd name="connsiteX13" fmla="*/ 2354112 w 3277404"/>
              <a:gd name="connsiteY13" fmla="*/ 145769 h 2824020"/>
              <a:gd name="connsiteX14" fmla="*/ 2393137 w 3277404"/>
              <a:gd name="connsiteY14" fmla="*/ 141178 h 2824020"/>
              <a:gd name="connsiteX15" fmla="*/ 2432162 w 3277404"/>
              <a:gd name="connsiteY15" fmla="*/ 135439 h 2824020"/>
              <a:gd name="connsiteX16" fmla="*/ 2471186 w 3277404"/>
              <a:gd name="connsiteY16" fmla="*/ 130848 h 2824020"/>
              <a:gd name="connsiteX17" fmla="*/ 2510212 w 3277404"/>
              <a:gd name="connsiteY17" fmla="*/ 127404 h 2824020"/>
              <a:gd name="connsiteX18" fmla="*/ 2546940 w 3277404"/>
              <a:gd name="connsiteY18" fmla="*/ 128552 h 2824020"/>
              <a:gd name="connsiteX19" fmla="*/ 2582522 w 3277404"/>
              <a:gd name="connsiteY19" fmla="*/ 133143 h 2824020"/>
              <a:gd name="connsiteX20" fmla="*/ 2616956 w 3277404"/>
              <a:gd name="connsiteY20" fmla="*/ 143473 h 2824020"/>
              <a:gd name="connsiteX21" fmla="*/ 2645651 w 3277404"/>
              <a:gd name="connsiteY21" fmla="*/ 158394 h 2824020"/>
              <a:gd name="connsiteX22" fmla="*/ 2673197 w 3277404"/>
              <a:gd name="connsiteY22" fmla="*/ 177907 h 2824020"/>
              <a:gd name="connsiteX23" fmla="*/ 2697301 w 3277404"/>
              <a:gd name="connsiteY23" fmla="*/ 200862 h 2824020"/>
              <a:gd name="connsiteX24" fmla="*/ 2721405 w 3277404"/>
              <a:gd name="connsiteY24" fmla="*/ 227261 h 2824020"/>
              <a:gd name="connsiteX25" fmla="*/ 2743213 w 3277404"/>
              <a:gd name="connsiteY25" fmla="*/ 254808 h 2824020"/>
              <a:gd name="connsiteX26" fmla="*/ 2765020 w 3277404"/>
              <a:gd name="connsiteY26" fmla="*/ 283503 h 2824020"/>
              <a:gd name="connsiteX27" fmla="*/ 2786829 w 3277404"/>
              <a:gd name="connsiteY27" fmla="*/ 312197 h 2824020"/>
              <a:gd name="connsiteX28" fmla="*/ 2808636 w 3277404"/>
              <a:gd name="connsiteY28" fmla="*/ 339744 h 2824020"/>
              <a:gd name="connsiteX29" fmla="*/ 2831593 w 3277404"/>
              <a:gd name="connsiteY29" fmla="*/ 366142 h 2824020"/>
              <a:gd name="connsiteX30" fmla="*/ 2857992 w 3277404"/>
              <a:gd name="connsiteY30" fmla="*/ 389099 h 2824020"/>
              <a:gd name="connsiteX31" fmla="*/ 2883244 w 3277404"/>
              <a:gd name="connsiteY31" fmla="*/ 409759 h 2824020"/>
              <a:gd name="connsiteX32" fmla="*/ 2911938 w 3277404"/>
              <a:gd name="connsiteY32" fmla="*/ 425827 h 2824020"/>
              <a:gd name="connsiteX33" fmla="*/ 2942928 w 3277404"/>
              <a:gd name="connsiteY33" fmla="*/ 439601 h 2824020"/>
              <a:gd name="connsiteX34" fmla="*/ 2976213 w 3277404"/>
              <a:gd name="connsiteY34" fmla="*/ 451079 h 2824020"/>
              <a:gd name="connsiteX35" fmla="*/ 3010646 w 3277404"/>
              <a:gd name="connsiteY35" fmla="*/ 461408 h 2824020"/>
              <a:gd name="connsiteX36" fmla="*/ 3045081 w 3277404"/>
              <a:gd name="connsiteY36" fmla="*/ 470591 h 2824020"/>
              <a:gd name="connsiteX37" fmla="*/ 3080662 w 3277404"/>
              <a:gd name="connsiteY37" fmla="*/ 479774 h 2824020"/>
              <a:gd name="connsiteX38" fmla="*/ 3113948 w 3277404"/>
              <a:gd name="connsiteY38" fmla="*/ 490104 h 2824020"/>
              <a:gd name="connsiteX39" fmla="*/ 3147233 w 3277404"/>
              <a:gd name="connsiteY39" fmla="*/ 501581 h 2824020"/>
              <a:gd name="connsiteX40" fmla="*/ 3178224 w 3277404"/>
              <a:gd name="connsiteY40" fmla="*/ 515355 h 2824020"/>
              <a:gd name="connsiteX41" fmla="*/ 3205771 w 3277404"/>
              <a:gd name="connsiteY41" fmla="*/ 532572 h 2824020"/>
              <a:gd name="connsiteX42" fmla="*/ 3231023 w 3277404"/>
              <a:gd name="connsiteY42" fmla="*/ 553232 h 2824020"/>
              <a:gd name="connsiteX43" fmla="*/ 3251682 w 3277404"/>
              <a:gd name="connsiteY43" fmla="*/ 578483 h 2824020"/>
              <a:gd name="connsiteX44" fmla="*/ 3268900 w 3277404"/>
              <a:gd name="connsiteY44" fmla="*/ 606030 h 2824020"/>
              <a:gd name="connsiteX45" fmla="*/ 3277404 w 3277404"/>
              <a:gd name="connsiteY45" fmla="*/ 625165 h 2824020"/>
              <a:gd name="connsiteX46" fmla="*/ 3277404 w 3277404"/>
              <a:gd name="connsiteY46" fmla="*/ 2824020 h 2824020"/>
              <a:gd name="connsiteX47" fmla="*/ 362557 w 3277404"/>
              <a:gd name="connsiteY47" fmla="*/ 2824020 h 2824020"/>
              <a:gd name="connsiteX48" fmla="*/ 340893 w 3277404"/>
              <a:gd name="connsiteY48" fmla="*/ 2805182 h 2824020"/>
              <a:gd name="connsiteX49" fmla="*/ 312198 w 3277404"/>
              <a:gd name="connsiteY49" fmla="*/ 2783375 h 2824020"/>
              <a:gd name="connsiteX50" fmla="*/ 283504 w 3277404"/>
              <a:gd name="connsiteY50" fmla="*/ 2761567 h 2824020"/>
              <a:gd name="connsiteX51" fmla="*/ 254810 w 3277404"/>
              <a:gd name="connsiteY51" fmla="*/ 2739759 h 2824020"/>
              <a:gd name="connsiteX52" fmla="*/ 227262 w 3277404"/>
              <a:gd name="connsiteY52" fmla="*/ 2717951 h 2824020"/>
              <a:gd name="connsiteX53" fmla="*/ 200863 w 3277404"/>
              <a:gd name="connsiteY53" fmla="*/ 2693848 h 2824020"/>
              <a:gd name="connsiteX54" fmla="*/ 177907 w 3277404"/>
              <a:gd name="connsiteY54" fmla="*/ 2669745 h 2824020"/>
              <a:gd name="connsiteX55" fmla="*/ 158396 w 3277404"/>
              <a:gd name="connsiteY55" fmla="*/ 2642197 h 2824020"/>
              <a:gd name="connsiteX56" fmla="*/ 143475 w 3277404"/>
              <a:gd name="connsiteY56" fmla="*/ 2613503 h 2824020"/>
              <a:gd name="connsiteX57" fmla="*/ 133144 w 3277404"/>
              <a:gd name="connsiteY57" fmla="*/ 2579070 h 2824020"/>
              <a:gd name="connsiteX58" fmla="*/ 128553 w 3277404"/>
              <a:gd name="connsiteY58" fmla="*/ 2543489 h 2824020"/>
              <a:gd name="connsiteX59" fmla="*/ 127404 w 3277404"/>
              <a:gd name="connsiteY59" fmla="*/ 2506758 h 2824020"/>
              <a:gd name="connsiteX60" fmla="*/ 130848 w 3277404"/>
              <a:gd name="connsiteY60" fmla="*/ 2467734 h 2824020"/>
              <a:gd name="connsiteX61" fmla="*/ 135439 w 3277404"/>
              <a:gd name="connsiteY61" fmla="*/ 2428710 h 2824020"/>
              <a:gd name="connsiteX62" fmla="*/ 141178 w 3277404"/>
              <a:gd name="connsiteY62" fmla="*/ 2389685 h 2824020"/>
              <a:gd name="connsiteX63" fmla="*/ 145770 w 3277404"/>
              <a:gd name="connsiteY63" fmla="*/ 2350660 h 2824020"/>
              <a:gd name="connsiteX64" fmla="*/ 148066 w 3277404"/>
              <a:gd name="connsiteY64" fmla="*/ 2311636 h 2824020"/>
              <a:gd name="connsiteX65" fmla="*/ 148066 w 3277404"/>
              <a:gd name="connsiteY65" fmla="*/ 2273758 h 2824020"/>
              <a:gd name="connsiteX66" fmla="*/ 143475 w 3277404"/>
              <a:gd name="connsiteY66" fmla="*/ 2238178 h 2824020"/>
              <a:gd name="connsiteX67" fmla="*/ 134292 w 3277404"/>
              <a:gd name="connsiteY67" fmla="*/ 2202597 h 2824020"/>
              <a:gd name="connsiteX68" fmla="*/ 120518 w 3277404"/>
              <a:gd name="connsiteY68" fmla="*/ 2169310 h 2824020"/>
              <a:gd name="connsiteX69" fmla="*/ 103302 w 3277404"/>
              <a:gd name="connsiteY69" fmla="*/ 2134877 h 2824020"/>
              <a:gd name="connsiteX70" fmla="*/ 83788 w 3277404"/>
              <a:gd name="connsiteY70" fmla="*/ 2100445 h 2824020"/>
              <a:gd name="connsiteX71" fmla="*/ 63129 w 3277404"/>
              <a:gd name="connsiteY71" fmla="*/ 2066010 h 2824020"/>
              <a:gd name="connsiteX72" fmla="*/ 43617 w 3277404"/>
              <a:gd name="connsiteY72" fmla="*/ 2032724 h 2824020"/>
              <a:gd name="connsiteX73" fmla="*/ 26399 w 3277404"/>
              <a:gd name="connsiteY73" fmla="*/ 1997144 h 2824020"/>
              <a:gd name="connsiteX74" fmla="*/ 12627 w 3277404"/>
              <a:gd name="connsiteY74" fmla="*/ 1962709 h 2824020"/>
              <a:gd name="connsiteX75" fmla="*/ 3444 w 3277404"/>
              <a:gd name="connsiteY75" fmla="*/ 1927128 h 2824020"/>
              <a:gd name="connsiteX76" fmla="*/ 0 w 3277404"/>
              <a:gd name="connsiteY76" fmla="*/ 1890399 h 2824020"/>
              <a:gd name="connsiteX77" fmla="*/ 3444 w 3277404"/>
              <a:gd name="connsiteY77" fmla="*/ 1853671 h 2824020"/>
              <a:gd name="connsiteX78" fmla="*/ 12627 w 3277404"/>
              <a:gd name="connsiteY78" fmla="*/ 1818089 h 2824020"/>
              <a:gd name="connsiteX79" fmla="*/ 26399 w 3277404"/>
              <a:gd name="connsiteY79" fmla="*/ 1783655 h 2824020"/>
              <a:gd name="connsiteX80" fmla="*/ 43617 w 3277404"/>
              <a:gd name="connsiteY80" fmla="*/ 1748075 h 2824020"/>
              <a:gd name="connsiteX81" fmla="*/ 63129 w 3277404"/>
              <a:gd name="connsiteY81" fmla="*/ 1714788 h 2824020"/>
              <a:gd name="connsiteX82" fmla="*/ 83788 w 3277404"/>
              <a:gd name="connsiteY82" fmla="*/ 1680356 h 2824020"/>
              <a:gd name="connsiteX83" fmla="*/ 103302 w 3277404"/>
              <a:gd name="connsiteY83" fmla="*/ 1645921 h 2824020"/>
              <a:gd name="connsiteX84" fmla="*/ 120518 w 3277404"/>
              <a:gd name="connsiteY84" fmla="*/ 1611488 h 2824020"/>
              <a:gd name="connsiteX85" fmla="*/ 134292 w 3277404"/>
              <a:gd name="connsiteY85" fmla="*/ 1578202 h 2824020"/>
              <a:gd name="connsiteX86" fmla="*/ 143475 w 3277404"/>
              <a:gd name="connsiteY86" fmla="*/ 1542620 h 2824020"/>
              <a:gd name="connsiteX87" fmla="*/ 148066 w 3277404"/>
              <a:gd name="connsiteY87" fmla="*/ 1507040 h 2824020"/>
              <a:gd name="connsiteX88" fmla="*/ 148066 w 3277404"/>
              <a:gd name="connsiteY88" fmla="*/ 1469163 h 2824020"/>
              <a:gd name="connsiteX89" fmla="*/ 145770 w 3277404"/>
              <a:gd name="connsiteY89" fmla="*/ 1430138 h 2824020"/>
              <a:gd name="connsiteX90" fmla="*/ 141178 w 3277404"/>
              <a:gd name="connsiteY90" fmla="*/ 1391114 h 2824020"/>
              <a:gd name="connsiteX91" fmla="*/ 135439 w 3277404"/>
              <a:gd name="connsiteY91" fmla="*/ 1352088 h 2824020"/>
              <a:gd name="connsiteX92" fmla="*/ 130848 w 3277404"/>
              <a:gd name="connsiteY92" fmla="*/ 1313064 h 2824020"/>
              <a:gd name="connsiteX93" fmla="*/ 127404 w 3277404"/>
              <a:gd name="connsiteY93" fmla="*/ 1274040 h 2824020"/>
              <a:gd name="connsiteX94" fmla="*/ 128553 w 3277404"/>
              <a:gd name="connsiteY94" fmla="*/ 1237311 h 2824020"/>
              <a:gd name="connsiteX95" fmla="*/ 133144 w 3277404"/>
              <a:gd name="connsiteY95" fmla="*/ 1201730 h 2824020"/>
              <a:gd name="connsiteX96" fmla="*/ 143475 w 3277404"/>
              <a:gd name="connsiteY96" fmla="*/ 1167296 h 2824020"/>
              <a:gd name="connsiteX97" fmla="*/ 158396 w 3277404"/>
              <a:gd name="connsiteY97" fmla="*/ 1138602 h 2824020"/>
              <a:gd name="connsiteX98" fmla="*/ 177907 w 3277404"/>
              <a:gd name="connsiteY98" fmla="*/ 1111055 h 2824020"/>
              <a:gd name="connsiteX99" fmla="*/ 200863 w 3277404"/>
              <a:gd name="connsiteY99" fmla="*/ 1086951 h 2824020"/>
              <a:gd name="connsiteX100" fmla="*/ 227262 w 3277404"/>
              <a:gd name="connsiteY100" fmla="*/ 1062848 h 2824020"/>
              <a:gd name="connsiteX101" fmla="*/ 254810 w 3277404"/>
              <a:gd name="connsiteY101" fmla="*/ 1041039 h 2824020"/>
              <a:gd name="connsiteX102" fmla="*/ 283504 w 3277404"/>
              <a:gd name="connsiteY102" fmla="*/ 1019231 h 2824020"/>
              <a:gd name="connsiteX103" fmla="*/ 312198 w 3277404"/>
              <a:gd name="connsiteY103" fmla="*/ 997424 h 2824020"/>
              <a:gd name="connsiteX104" fmla="*/ 340893 w 3277404"/>
              <a:gd name="connsiteY104" fmla="*/ 975616 h 2824020"/>
              <a:gd name="connsiteX105" fmla="*/ 367292 w 3277404"/>
              <a:gd name="connsiteY105" fmla="*/ 952661 h 2824020"/>
              <a:gd name="connsiteX106" fmla="*/ 390249 w 3277404"/>
              <a:gd name="connsiteY106" fmla="*/ 926262 h 2824020"/>
              <a:gd name="connsiteX107" fmla="*/ 410908 w 3277404"/>
              <a:gd name="connsiteY107" fmla="*/ 901010 h 2824020"/>
              <a:gd name="connsiteX108" fmla="*/ 426977 w 3277404"/>
              <a:gd name="connsiteY108" fmla="*/ 872316 h 2824020"/>
              <a:gd name="connsiteX109" fmla="*/ 440751 w 3277404"/>
              <a:gd name="connsiteY109" fmla="*/ 841326 h 2824020"/>
              <a:gd name="connsiteX110" fmla="*/ 452229 w 3277404"/>
              <a:gd name="connsiteY110" fmla="*/ 808040 h 2824020"/>
              <a:gd name="connsiteX111" fmla="*/ 462559 w 3277404"/>
              <a:gd name="connsiteY111" fmla="*/ 773605 h 2824020"/>
              <a:gd name="connsiteX112" fmla="*/ 471742 w 3277404"/>
              <a:gd name="connsiteY112" fmla="*/ 739172 h 2824020"/>
              <a:gd name="connsiteX113" fmla="*/ 480924 w 3277404"/>
              <a:gd name="connsiteY113" fmla="*/ 703591 h 2824020"/>
              <a:gd name="connsiteX114" fmla="*/ 491254 w 3277404"/>
              <a:gd name="connsiteY114" fmla="*/ 670306 h 2824020"/>
              <a:gd name="connsiteX115" fmla="*/ 502732 w 3277404"/>
              <a:gd name="connsiteY115" fmla="*/ 637019 h 2824020"/>
              <a:gd name="connsiteX116" fmla="*/ 516506 w 3277404"/>
              <a:gd name="connsiteY116" fmla="*/ 606030 h 2824020"/>
              <a:gd name="connsiteX117" fmla="*/ 533722 w 3277404"/>
              <a:gd name="connsiteY117" fmla="*/ 578483 h 2824020"/>
              <a:gd name="connsiteX118" fmla="*/ 554381 w 3277404"/>
              <a:gd name="connsiteY118" fmla="*/ 553232 h 2824020"/>
              <a:gd name="connsiteX119" fmla="*/ 579633 w 3277404"/>
              <a:gd name="connsiteY119" fmla="*/ 532572 h 2824020"/>
              <a:gd name="connsiteX120" fmla="*/ 607181 w 3277404"/>
              <a:gd name="connsiteY120" fmla="*/ 515355 h 2824020"/>
              <a:gd name="connsiteX121" fmla="*/ 638170 w 3277404"/>
              <a:gd name="connsiteY121" fmla="*/ 501581 h 2824020"/>
              <a:gd name="connsiteX122" fmla="*/ 671457 w 3277404"/>
              <a:gd name="connsiteY122" fmla="*/ 490104 h 2824020"/>
              <a:gd name="connsiteX123" fmla="*/ 704742 w 3277404"/>
              <a:gd name="connsiteY123" fmla="*/ 479774 h 2824020"/>
              <a:gd name="connsiteX124" fmla="*/ 740324 w 3277404"/>
              <a:gd name="connsiteY124" fmla="*/ 470591 h 2824020"/>
              <a:gd name="connsiteX125" fmla="*/ 774756 w 3277404"/>
              <a:gd name="connsiteY125" fmla="*/ 461408 h 2824020"/>
              <a:gd name="connsiteX126" fmla="*/ 809191 w 3277404"/>
              <a:gd name="connsiteY126" fmla="*/ 451079 h 2824020"/>
              <a:gd name="connsiteX127" fmla="*/ 842476 w 3277404"/>
              <a:gd name="connsiteY127" fmla="*/ 439601 h 2824020"/>
              <a:gd name="connsiteX128" fmla="*/ 873466 w 3277404"/>
              <a:gd name="connsiteY128" fmla="*/ 425827 h 2824020"/>
              <a:gd name="connsiteX129" fmla="*/ 902161 w 3277404"/>
              <a:gd name="connsiteY129" fmla="*/ 409759 h 2824020"/>
              <a:gd name="connsiteX130" fmla="*/ 927412 w 3277404"/>
              <a:gd name="connsiteY130" fmla="*/ 389099 h 2824020"/>
              <a:gd name="connsiteX131" fmla="*/ 953812 w 3277404"/>
              <a:gd name="connsiteY131" fmla="*/ 366142 h 2824020"/>
              <a:gd name="connsiteX132" fmla="*/ 976768 w 3277404"/>
              <a:gd name="connsiteY132" fmla="*/ 339744 h 2824020"/>
              <a:gd name="connsiteX133" fmla="*/ 998576 w 3277404"/>
              <a:gd name="connsiteY133" fmla="*/ 312197 h 2824020"/>
              <a:gd name="connsiteX134" fmla="*/ 1020384 w 3277404"/>
              <a:gd name="connsiteY134" fmla="*/ 283503 h 2824020"/>
              <a:gd name="connsiteX135" fmla="*/ 1042191 w 3277404"/>
              <a:gd name="connsiteY135" fmla="*/ 254808 h 2824020"/>
              <a:gd name="connsiteX136" fmla="*/ 1063999 w 3277404"/>
              <a:gd name="connsiteY136" fmla="*/ 227261 h 2824020"/>
              <a:gd name="connsiteX137" fmla="*/ 1088104 w 3277404"/>
              <a:gd name="connsiteY137" fmla="*/ 200862 h 2824020"/>
              <a:gd name="connsiteX138" fmla="*/ 1112206 w 3277404"/>
              <a:gd name="connsiteY138" fmla="*/ 177907 h 2824020"/>
              <a:gd name="connsiteX139" fmla="*/ 1139754 w 3277404"/>
              <a:gd name="connsiteY139" fmla="*/ 158394 h 2824020"/>
              <a:gd name="connsiteX140" fmla="*/ 1168448 w 3277404"/>
              <a:gd name="connsiteY140" fmla="*/ 143473 h 2824020"/>
              <a:gd name="connsiteX141" fmla="*/ 1202883 w 3277404"/>
              <a:gd name="connsiteY141" fmla="*/ 133143 h 2824020"/>
              <a:gd name="connsiteX142" fmla="*/ 1238464 w 3277404"/>
              <a:gd name="connsiteY142" fmla="*/ 128552 h 2824020"/>
              <a:gd name="connsiteX143" fmla="*/ 1275192 w 3277404"/>
              <a:gd name="connsiteY143" fmla="*/ 127404 h 2824020"/>
              <a:gd name="connsiteX144" fmla="*/ 1314216 w 3277404"/>
              <a:gd name="connsiteY144" fmla="*/ 130848 h 2824020"/>
              <a:gd name="connsiteX145" fmla="*/ 1353242 w 3277404"/>
              <a:gd name="connsiteY145" fmla="*/ 135439 h 2824020"/>
              <a:gd name="connsiteX146" fmla="*/ 1392267 w 3277404"/>
              <a:gd name="connsiteY146" fmla="*/ 141178 h 2824020"/>
              <a:gd name="connsiteX147" fmla="*/ 1431291 w 3277404"/>
              <a:gd name="connsiteY147" fmla="*/ 145769 h 2824020"/>
              <a:gd name="connsiteX148" fmla="*/ 1470316 w 3277404"/>
              <a:gd name="connsiteY148" fmla="*/ 148064 h 2824020"/>
              <a:gd name="connsiteX149" fmla="*/ 1508194 w 3277404"/>
              <a:gd name="connsiteY149" fmla="*/ 148064 h 2824020"/>
              <a:gd name="connsiteX150" fmla="*/ 1543776 w 3277404"/>
              <a:gd name="connsiteY150" fmla="*/ 143473 h 2824020"/>
              <a:gd name="connsiteX151" fmla="*/ 1579357 w 3277404"/>
              <a:gd name="connsiteY151" fmla="*/ 134290 h 2824020"/>
              <a:gd name="connsiteX152" fmla="*/ 1613790 w 3277404"/>
              <a:gd name="connsiteY152" fmla="*/ 120518 h 2824020"/>
              <a:gd name="connsiteX153" fmla="*/ 1648223 w 3277404"/>
              <a:gd name="connsiteY153" fmla="*/ 102152 h 2824020"/>
              <a:gd name="connsiteX154" fmla="*/ 1682657 w 3277404"/>
              <a:gd name="connsiteY154" fmla="*/ 83788 h 2824020"/>
              <a:gd name="connsiteX155" fmla="*/ 1717090 w 3277404"/>
              <a:gd name="connsiteY155" fmla="*/ 63128 h 2824020"/>
              <a:gd name="connsiteX156" fmla="*/ 1750377 w 3277404"/>
              <a:gd name="connsiteY156" fmla="*/ 43615 h 2824020"/>
              <a:gd name="connsiteX157" fmla="*/ 1785959 w 3277404"/>
              <a:gd name="connsiteY157" fmla="*/ 26399 h 2824020"/>
              <a:gd name="connsiteX158" fmla="*/ 1820392 w 3277404"/>
              <a:gd name="connsiteY158" fmla="*/ 12625 h 2824020"/>
              <a:gd name="connsiteX159" fmla="*/ 1855973 w 3277404"/>
              <a:gd name="connsiteY159" fmla="*/ 3443 h 2824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3277404" h="2824020">
                <a:moveTo>
                  <a:pt x="1892703" y="0"/>
                </a:moveTo>
                <a:lnTo>
                  <a:pt x="1929431" y="3443"/>
                </a:lnTo>
                <a:lnTo>
                  <a:pt x="1965012" y="12625"/>
                </a:lnTo>
                <a:lnTo>
                  <a:pt x="1999447" y="26399"/>
                </a:lnTo>
                <a:lnTo>
                  <a:pt x="2035027" y="43615"/>
                </a:lnTo>
                <a:lnTo>
                  <a:pt x="2068314" y="63128"/>
                </a:lnTo>
                <a:lnTo>
                  <a:pt x="2102748" y="83788"/>
                </a:lnTo>
                <a:lnTo>
                  <a:pt x="2137181" y="102152"/>
                </a:lnTo>
                <a:lnTo>
                  <a:pt x="2171614" y="120518"/>
                </a:lnTo>
                <a:lnTo>
                  <a:pt x="2204900" y="134290"/>
                </a:lnTo>
                <a:lnTo>
                  <a:pt x="2241630" y="143473"/>
                </a:lnTo>
                <a:lnTo>
                  <a:pt x="2277210" y="148064"/>
                </a:lnTo>
                <a:lnTo>
                  <a:pt x="2315087" y="148064"/>
                </a:lnTo>
                <a:lnTo>
                  <a:pt x="2354112" y="145769"/>
                </a:lnTo>
                <a:lnTo>
                  <a:pt x="2393137" y="141178"/>
                </a:lnTo>
                <a:lnTo>
                  <a:pt x="2432162" y="135439"/>
                </a:lnTo>
                <a:lnTo>
                  <a:pt x="2471186" y="130848"/>
                </a:lnTo>
                <a:lnTo>
                  <a:pt x="2510212" y="127404"/>
                </a:lnTo>
                <a:lnTo>
                  <a:pt x="2546940" y="128552"/>
                </a:lnTo>
                <a:lnTo>
                  <a:pt x="2582522" y="133143"/>
                </a:lnTo>
                <a:lnTo>
                  <a:pt x="2616956" y="143473"/>
                </a:lnTo>
                <a:lnTo>
                  <a:pt x="2645651" y="158394"/>
                </a:lnTo>
                <a:lnTo>
                  <a:pt x="2673197" y="177907"/>
                </a:lnTo>
                <a:lnTo>
                  <a:pt x="2697301" y="200862"/>
                </a:lnTo>
                <a:lnTo>
                  <a:pt x="2721405" y="227261"/>
                </a:lnTo>
                <a:lnTo>
                  <a:pt x="2743213" y="254808"/>
                </a:lnTo>
                <a:lnTo>
                  <a:pt x="2765020" y="283503"/>
                </a:lnTo>
                <a:lnTo>
                  <a:pt x="2786829" y="312197"/>
                </a:lnTo>
                <a:lnTo>
                  <a:pt x="2808636" y="339744"/>
                </a:lnTo>
                <a:lnTo>
                  <a:pt x="2831593" y="366142"/>
                </a:lnTo>
                <a:lnTo>
                  <a:pt x="2857992" y="389099"/>
                </a:lnTo>
                <a:lnTo>
                  <a:pt x="2883244" y="409759"/>
                </a:lnTo>
                <a:lnTo>
                  <a:pt x="2911938" y="425827"/>
                </a:lnTo>
                <a:lnTo>
                  <a:pt x="2942928" y="439601"/>
                </a:lnTo>
                <a:lnTo>
                  <a:pt x="2976213" y="451079"/>
                </a:lnTo>
                <a:lnTo>
                  <a:pt x="3010646" y="461408"/>
                </a:lnTo>
                <a:lnTo>
                  <a:pt x="3045081" y="470591"/>
                </a:lnTo>
                <a:lnTo>
                  <a:pt x="3080662" y="479774"/>
                </a:lnTo>
                <a:lnTo>
                  <a:pt x="3113948" y="490104"/>
                </a:lnTo>
                <a:lnTo>
                  <a:pt x="3147233" y="501581"/>
                </a:lnTo>
                <a:lnTo>
                  <a:pt x="3178224" y="515355"/>
                </a:lnTo>
                <a:lnTo>
                  <a:pt x="3205771" y="532572"/>
                </a:lnTo>
                <a:lnTo>
                  <a:pt x="3231023" y="553232"/>
                </a:lnTo>
                <a:lnTo>
                  <a:pt x="3251682" y="578483"/>
                </a:lnTo>
                <a:lnTo>
                  <a:pt x="3268900" y="606030"/>
                </a:lnTo>
                <a:lnTo>
                  <a:pt x="3277404" y="625165"/>
                </a:lnTo>
                <a:lnTo>
                  <a:pt x="3277404" y="2824020"/>
                </a:lnTo>
                <a:lnTo>
                  <a:pt x="362557" y="2824020"/>
                </a:lnTo>
                <a:lnTo>
                  <a:pt x="340893" y="2805182"/>
                </a:lnTo>
                <a:lnTo>
                  <a:pt x="312198" y="2783375"/>
                </a:lnTo>
                <a:lnTo>
                  <a:pt x="283504" y="2761567"/>
                </a:lnTo>
                <a:lnTo>
                  <a:pt x="254810" y="2739759"/>
                </a:lnTo>
                <a:lnTo>
                  <a:pt x="227262" y="2717951"/>
                </a:lnTo>
                <a:lnTo>
                  <a:pt x="200863" y="2693848"/>
                </a:lnTo>
                <a:lnTo>
                  <a:pt x="177907" y="2669745"/>
                </a:lnTo>
                <a:lnTo>
                  <a:pt x="158396" y="2642197"/>
                </a:lnTo>
                <a:lnTo>
                  <a:pt x="143475" y="2613503"/>
                </a:lnTo>
                <a:lnTo>
                  <a:pt x="133144" y="2579070"/>
                </a:lnTo>
                <a:lnTo>
                  <a:pt x="128553" y="2543489"/>
                </a:lnTo>
                <a:lnTo>
                  <a:pt x="127404" y="2506758"/>
                </a:lnTo>
                <a:lnTo>
                  <a:pt x="130848" y="2467734"/>
                </a:lnTo>
                <a:lnTo>
                  <a:pt x="135439" y="2428710"/>
                </a:lnTo>
                <a:lnTo>
                  <a:pt x="141178" y="2389685"/>
                </a:lnTo>
                <a:lnTo>
                  <a:pt x="145770" y="2350660"/>
                </a:lnTo>
                <a:lnTo>
                  <a:pt x="148066" y="2311636"/>
                </a:lnTo>
                <a:lnTo>
                  <a:pt x="148066" y="2273758"/>
                </a:lnTo>
                <a:lnTo>
                  <a:pt x="143475" y="2238178"/>
                </a:lnTo>
                <a:lnTo>
                  <a:pt x="134292" y="2202597"/>
                </a:lnTo>
                <a:lnTo>
                  <a:pt x="120518" y="2169310"/>
                </a:lnTo>
                <a:lnTo>
                  <a:pt x="103302" y="2134877"/>
                </a:lnTo>
                <a:lnTo>
                  <a:pt x="83788" y="2100445"/>
                </a:lnTo>
                <a:lnTo>
                  <a:pt x="63129" y="2066010"/>
                </a:lnTo>
                <a:lnTo>
                  <a:pt x="43617" y="2032724"/>
                </a:lnTo>
                <a:lnTo>
                  <a:pt x="26399" y="1997144"/>
                </a:lnTo>
                <a:lnTo>
                  <a:pt x="12627" y="1962709"/>
                </a:lnTo>
                <a:lnTo>
                  <a:pt x="3444" y="1927128"/>
                </a:lnTo>
                <a:lnTo>
                  <a:pt x="0" y="1890399"/>
                </a:lnTo>
                <a:lnTo>
                  <a:pt x="3444" y="1853671"/>
                </a:lnTo>
                <a:lnTo>
                  <a:pt x="12627" y="1818089"/>
                </a:lnTo>
                <a:lnTo>
                  <a:pt x="26399" y="1783655"/>
                </a:lnTo>
                <a:lnTo>
                  <a:pt x="43617" y="1748075"/>
                </a:lnTo>
                <a:lnTo>
                  <a:pt x="63129" y="1714788"/>
                </a:lnTo>
                <a:lnTo>
                  <a:pt x="83788" y="1680356"/>
                </a:lnTo>
                <a:lnTo>
                  <a:pt x="103302" y="1645921"/>
                </a:lnTo>
                <a:lnTo>
                  <a:pt x="120518" y="1611488"/>
                </a:lnTo>
                <a:lnTo>
                  <a:pt x="134292" y="1578202"/>
                </a:lnTo>
                <a:lnTo>
                  <a:pt x="143475" y="1542620"/>
                </a:lnTo>
                <a:lnTo>
                  <a:pt x="148066" y="1507040"/>
                </a:lnTo>
                <a:lnTo>
                  <a:pt x="148066" y="1469163"/>
                </a:lnTo>
                <a:lnTo>
                  <a:pt x="145770" y="1430138"/>
                </a:lnTo>
                <a:lnTo>
                  <a:pt x="141178" y="1391114"/>
                </a:lnTo>
                <a:lnTo>
                  <a:pt x="135439" y="1352088"/>
                </a:lnTo>
                <a:lnTo>
                  <a:pt x="130848" y="1313064"/>
                </a:lnTo>
                <a:lnTo>
                  <a:pt x="127404" y="1274040"/>
                </a:lnTo>
                <a:lnTo>
                  <a:pt x="128553" y="1237311"/>
                </a:lnTo>
                <a:lnTo>
                  <a:pt x="133144" y="1201730"/>
                </a:lnTo>
                <a:lnTo>
                  <a:pt x="143475" y="1167296"/>
                </a:lnTo>
                <a:lnTo>
                  <a:pt x="158396" y="1138602"/>
                </a:lnTo>
                <a:lnTo>
                  <a:pt x="177907" y="1111055"/>
                </a:lnTo>
                <a:lnTo>
                  <a:pt x="200863" y="1086951"/>
                </a:lnTo>
                <a:lnTo>
                  <a:pt x="227262" y="1062848"/>
                </a:lnTo>
                <a:lnTo>
                  <a:pt x="254810" y="1041039"/>
                </a:lnTo>
                <a:lnTo>
                  <a:pt x="283504" y="1019231"/>
                </a:lnTo>
                <a:lnTo>
                  <a:pt x="312198" y="997424"/>
                </a:lnTo>
                <a:lnTo>
                  <a:pt x="340893" y="975616"/>
                </a:lnTo>
                <a:lnTo>
                  <a:pt x="367292" y="952661"/>
                </a:lnTo>
                <a:lnTo>
                  <a:pt x="390249" y="926262"/>
                </a:lnTo>
                <a:lnTo>
                  <a:pt x="410908" y="901010"/>
                </a:lnTo>
                <a:lnTo>
                  <a:pt x="426977" y="872316"/>
                </a:lnTo>
                <a:lnTo>
                  <a:pt x="440751" y="841326"/>
                </a:lnTo>
                <a:lnTo>
                  <a:pt x="452229" y="808040"/>
                </a:lnTo>
                <a:lnTo>
                  <a:pt x="462559" y="773605"/>
                </a:lnTo>
                <a:lnTo>
                  <a:pt x="471742" y="739172"/>
                </a:lnTo>
                <a:lnTo>
                  <a:pt x="480924" y="703591"/>
                </a:lnTo>
                <a:lnTo>
                  <a:pt x="491254" y="670306"/>
                </a:lnTo>
                <a:lnTo>
                  <a:pt x="502732" y="637019"/>
                </a:lnTo>
                <a:lnTo>
                  <a:pt x="516506" y="606030"/>
                </a:lnTo>
                <a:lnTo>
                  <a:pt x="533722" y="578483"/>
                </a:lnTo>
                <a:lnTo>
                  <a:pt x="554381" y="553232"/>
                </a:lnTo>
                <a:lnTo>
                  <a:pt x="579633" y="532572"/>
                </a:lnTo>
                <a:lnTo>
                  <a:pt x="607181" y="515355"/>
                </a:lnTo>
                <a:lnTo>
                  <a:pt x="638170" y="501581"/>
                </a:lnTo>
                <a:lnTo>
                  <a:pt x="671457" y="490104"/>
                </a:lnTo>
                <a:lnTo>
                  <a:pt x="704742" y="479774"/>
                </a:lnTo>
                <a:lnTo>
                  <a:pt x="740324" y="470591"/>
                </a:lnTo>
                <a:lnTo>
                  <a:pt x="774756" y="461408"/>
                </a:lnTo>
                <a:lnTo>
                  <a:pt x="809191" y="451079"/>
                </a:lnTo>
                <a:lnTo>
                  <a:pt x="842476" y="439601"/>
                </a:lnTo>
                <a:lnTo>
                  <a:pt x="873466" y="425827"/>
                </a:lnTo>
                <a:lnTo>
                  <a:pt x="902161" y="409759"/>
                </a:lnTo>
                <a:lnTo>
                  <a:pt x="927412" y="389099"/>
                </a:lnTo>
                <a:lnTo>
                  <a:pt x="953812" y="366142"/>
                </a:lnTo>
                <a:lnTo>
                  <a:pt x="976768" y="339744"/>
                </a:lnTo>
                <a:lnTo>
                  <a:pt x="998576" y="312197"/>
                </a:lnTo>
                <a:lnTo>
                  <a:pt x="1020384" y="283503"/>
                </a:lnTo>
                <a:lnTo>
                  <a:pt x="1042191" y="254808"/>
                </a:lnTo>
                <a:lnTo>
                  <a:pt x="1063999" y="227261"/>
                </a:lnTo>
                <a:lnTo>
                  <a:pt x="1088104" y="200862"/>
                </a:lnTo>
                <a:lnTo>
                  <a:pt x="1112206" y="177907"/>
                </a:lnTo>
                <a:lnTo>
                  <a:pt x="1139754" y="158394"/>
                </a:lnTo>
                <a:lnTo>
                  <a:pt x="1168448" y="143473"/>
                </a:lnTo>
                <a:lnTo>
                  <a:pt x="1202883" y="133143"/>
                </a:lnTo>
                <a:lnTo>
                  <a:pt x="1238464" y="128552"/>
                </a:lnTo>
                <a:lnTo>
                  <a:pt x="1275192" y="127404"/>
                </a:lnTo>
                <a:lnTo>
                  <a:pt x="1314216" y="130848"/>
                </a:lnTo>
                <a:lnTo>
                  <a:pt x="1353242" y="135439"/>
                </a:lnTo>
                <a:lnTo>
                  <a:pt x="1392267" y="141178"/>
                </a:lnTo>
                <a:lnTo>
                  <a:pt x="1431291" y="145769"/>
                </a:lnTo>
                <a:lnTo>
                  <a:pt x="1470316" y="148064"/>
                </a:lnTo>
                <a:lnTo>
                  <a:pt x="1508194" y="148064"/>
                </a:lnTo>
                <a:lnTo>
                  <a:pt x="1543776" y="143473"/>
                </a:lnTo>
                <a:lnTo>
                  <a:pt x="1579357" y="134290"/>
                </a:lnTo>
                <a:lnTo>
                  <a:pt x="1613790" y="120518"/>
                </a:lnTo>
                <a:lnTo>
                  <a:pt x="1648223" y="102152"/>
                </a:lnTo>
                <a:lnTo>
                  <a:pt x="1682657" y="83788"/>
                </a:lnTo>
                <a:lnTo>
                  <a:pt x="1717090" y="63128"/>
                </a:lnTo>
                <a:lnTo>
                  <a:pt x="1750377" y="43615"/>
                </a:lnTo>
                <a:lnTo>
                  <a:pt x="1785959" y="26399"/>
                </a:lnTo>
                <a:lnTo>
                  <a:pt x="1820392" y="12625"/>
                </a:lnTo>
                <a:lnTo>
                  <a:pt x="1855973" y="34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AA9CB5E-E199-4A82-889C-9B3629D3CD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7084" y="4901435"/>
            <a:ext cx="2003356" cy="1882223"/>
          </a:xfrm>
          <a:prstGeom prst="rect">
            <a:avLst/>
          </a:prstGeom>
        </p:spPr>
      </p:pic>
      <p:sp>
        <p:nvSpPr>
          <p:cNvPr id="36" name="CaixaDeTexto 35">
            <a:extLst>
              <a:ext uri="{FF2B5EF4-FFF2-40B4-BE49-F238E27FC236}">
                <a16:creationId xmlns:a16="http://schemas.microsoft.com/office/drawing/2014/main" id="{8C3D5B47-D8A7-428F-AF48-6BFBE50DA3B6}"/>
              </a:ext>
            </a:extLst>
          </p:cNvPr>
          <p:cNvSpPr txBox="1"/>
          <p:nvPr/>
        </p:nvSpPr>
        <p:spPr>
          <a:xfrm>
            <a:off x="9885350" y="4378213"/>
            <a:ext cx="172682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Sistema de </a:t>
            </a:r>
          </a:p>
          <a:p>
            <a:pPr algn="ctr"/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Recomentação 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74F797A0-2FCD-4339-9562-35E9ECC05DE6}"/>
              </a:ext>
            </a:extLst>
          </p:cNvPr>
          <p:cNvSpPr txBox="1"/>
          <p:nvPr/>
        </p:nvSpPr>
        <p:spPr>
          <a:xfrm>
            <a:off x="6453459" y="4683619"/>
            <a:ext cx="1706489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haroni" panose="02010803020104030203" pitchFamily="2" charset="-79"/>
                <a:cs typeface="Aharoni" panose="02010803020104030203" pitchFamily="2" charset="-79"/>
              </a:rPr>
              <a:t>Bares/</a:t>
            </a:r>
          </a:p>
          <a:p>
            <a:r>
              <a:rPr lang="en-US" sz="1200" dirty="0" err="1">
                <a:latin typeface="Aharoni" panose="02010803020104030203" pitchFamily="2" charset="-79"/>
                <a:cs typeface="Aharoni" panose="02010803020104030203" pitchFamily="2" charset="-79"/>
              </a:rPr>
              <a:t>Restaurantes</a:t>
            </a:r>
            <a:r>
              <a:rPr lang="en-US" sz="1200" dirty="0">
                <a:latin typeface="Aharoni" panose="02010803020104030203" pitchFamily="2" charset="-79"/>
                <a:cs typeface="Aharoni" panose="02010803020104030203" pitchFamily="2" charset="-79"/>
              </a:rPr>
              <a:t>/</a:t>
            </a:r>
          </a:p>
          <a:p>
            <a:r>
              <a:rPr lang="en-US" sz="1200" dirty="0" err="1">
                <a:latin typeface="Aharoni" panose="02010803020104030203" pitchFamily="2" charset="-79"/>
                <a:cs typeface="Aharoni" panose="02010803020104030203" pitchFamily="2" charset="-79"/>
              </a:rPr>
              <a:t>Pequenos</a:t>
            </a:r>
            <a:r>
              <a:rPr lang="en-US" sz="1200" dirty="0">
                <a:latin typeface="Aharoni" panose="02010803020104030203" pitchFamily="2" charset="-79"/>
                <a:cs typeface="Aharoni" panose="02010803020104030203" pitchFamily="2" charset="-79"/>
              </a:rPr>
              <a:t> Mercado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C2B114C-8AB4-42C7-8D57-F28BD2497E3E}"/>
              </a:ext>
            </a:extLst>
          </p:cNvPr>
          <p:cNvSpPr txBox="1"/>
          <p:nvPr/>
        </p:nvSpPr>
        <p:spPr>
          <a:xfrm>
            <a:off x="8536904" y="712946"/>
            <a:ext cx="2291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Solução com foco B2B</a:t>
            </a:r>
          </a:p>
        </p:txBody>
      </p:sp>
    </p:spTree>
    <p:extLst>
      <p:ext uri="{BB962C8B-B14F-4D97-AF65-F5344CB8AC3E}">
        <p14:creationId xmlns:p14="http://schemas.microsoft.com/office/powerpoint/2010/main" val="2186797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266F1A-FAF6-4EF6-AFAE-64EC71C4B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Fluxo da recomendação</a:t>
            </a:r>
          </a:p>
        </p:txBody>
      </p:sp>
      <p:pic>
        <p:nvPicPr>
          <p:cNvPr id="5" name="Espaço Reservado para Conteúdo 4" descr="Diagrama&#10;&#10;Descrição gerada automaticamente">
            <a:extLst>
              <a:ext uri="{FF2B5EF4-FFF2-40B4-BE49-F238E27FC236}">
                <a16:creationId xmlns:a16="http://schemas.microsoft.com/office/drawing/2014/main" id="{D0793E89-CA59-484A-A4C8-850D578450B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3084"/>
          <a:stretch/>
        </p:blipFill>
        <p:spPr>
          <a:xfrm>
            <a:off x="1547477" y="2296767"/>
            <a:ext cx="9457222" cy="3071191"/>
          </a:xfrm>
        </p:spPr>
      </p:pic>
      <p:cxnSp>
        <p:nvCxnSpPr>
          <p:cNvPr id="13" name="Conector: Angulado 12">
            <a:extLst>
              <a:ext uri="{FF2B5EF4-FFF2-40B4-BE49-F238E27FC236}">
                <a16:creationId xmlns:a16="http://schemas.microsoft.com/office/drawing/2014/main" id="{D2C151F5-A146-41E9-87B4-156B3513497B}"/>
              </a:ext>
            </a:extLst>
          </p:cNvPr>
          <p:cNvCxnSpPr>
            <a:cxnSpLocks/>
          </p:cNvCxnSpPr>
          <p:nvPr/>
        </p:nvCxnSpPr>
        <p:spPr>
          <a:xfrm rot="10800000">
            <a:off x="2521259" y="4953740"/>
            <a:ext cx="3184216" cy="1367162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id="{457346E7-36B4-48FE-AF7A-C078D4F220F9}"/>
              </a:ext>
            </a:extLst>
          </p:cNvPr>
          <p:cNvSpPr txBox="1"/>
          <p:nvPr/>
        </p:nvSpPr>
        <p:spPr>
          <a:xfrm>
            <a:off x="7324225" y="2964076"/>
            <a:ext cx="356867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Bares/Restaurantes/Pequenos Mercados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1DD630C-451F-4435-85AB-BF272077C1B4}"/>
              </a:ext>
            </a:extLst>
          </p:cNvPr>
          <p:cNvSpPr txBox="1"/>
          <p:nvPr/>
        </p:nvSpPr>
        <p:spPr>
          <a:xfrm>
            <a:off x="4454899" y="2748633"/>
            <a:ext cx="172682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Sistema de </a:t>
            </a:r>
          </a:p>
          <a:p>
            <a:pPr algn="ctr"/>
            <a:r>
              <a:rPr lang="en-US" sz="1400" dirty="0">
                <a:latin typeface="Aharoni" panose="02010803020104030203" pitchFamily="2" charset="-79"/>
                <a:cs typeface="Aharoni" panose="02010803020104030203" pitchFamily="2" charset="-79"/>
              </a:rPr>
              <a:t>Recomentação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6405821-22D7-4FEF-B9CB-2AF6B37A6D3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375" t="23125" r="17656" b="22096"/>
          <a:stretch/>
        </p:blipFill>
        <p:spPr>
          <a:xfrm>
            <a:off x="8401051" y="3359340"/>
            <a:ext cx="1581145" cy="1375490"/>
          </a:xfrm>
          <a:prstGeom prst="rect">
            <a:avLst/>
          </a:prstGeom>
        </p:spPr>
      </p:pic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223FC997-C0C4-4993-A0ED-B09BCE3F2338}"/>
              </a:ext>
            </a:extLst>
          </p:cNvPr>
          <p:cNvCxnSpPr>
            <a:cxnSpLocks/>
          </p:cNvCxnSpPr>
          <p:nvPr/>
        </p:nvCxnSpPr>
        <p:spPr>
          <a:xfrm flipV="1">
            <a:off x="5640362" y="4953591"/>
            <a:ext cx="3482373" cy="13671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aixaDeTexto 2">
            <a:extLst>
              <a:ext uri="{FF2B5EF4-FFF2-40B4-BE49-F238E27FC236}">
                <a16:creationId xmlns:a16="http://schemas.microsoft.com/office/drawing/2014/main" id="{DE01B449-FB7C-45A2-8ACA-5C98E3FA48BA}"/>
              </a:ext>
            </a:extLst>
          </p:cNvPr>
          <p:cNvSpPr txBox="1"/>
          <p:nvPr/>
        </p:nvSpPr>
        <p:spPr>
          <a:xfrm>
            <a:off x="1464816" y="1900976"/>
            <a:ext cx="36132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luxo de Recomendação</a:t>
            </a:r>
          </a:p>
        </p:txBody>
      </p:sp>
    </p:spTree>
    <p:extLst>
      <p:ext uri="{BB962C8B-B14F-4D97-AF65-F5344CB8AC3E}">
        <p14:creationId xmlns:p14="http://schemas.microsoft.com/office/powerpoint/2010/main" val="20911897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50287B68-A4E4-4E51-863E-4903FF4B7C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18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6">
            <a:extLst>
              <a:ext uri="{FF2B5EF4-FFF2-40B4-BE49-F238E27FC236}">
                <a16:creationId xmlns:a16="http://schemas.microsoft.com/office/drawing/2014/main" id="{B217C2AD-51B4-40CE-A71F-F5D3F846D9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6F1BF92E-23CF-4BFE-9E1F-C359BACFA3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 useBgFill="1">
        <p:nvSpPr>
          <p:cNvPr id="17" name="Rectangle 13">
            <a:extLst>
              <a:ext uri="{FF2B5EF4-FFF2-40B4-BE49-F238E27FC236}">
                <a16:creationId xmlns:a16="http://schemas.microsoft.com/office/drawing/2014/main" id="{DFEF8384-2545-4ACD-9071-49DD1CFC4E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9" name="Freeform 22">
            <a:extLst>
              <a:ext uri="{FF2B5EF4-FFF2-40B4-BE49-F238E27FC236}">
                <a16:creationId xmlns:a16="http://schemas.microsoft.com/office/drawing/2014/main" id="{F77DB8FA-61A7-4DE7-A777-6D258D172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1" y="0"/>
            <a:ext cx="4695443" cy="6858000"/>
          </a:xfrm>
          <a:custGeom>
            <a:avLst/>
            <a:gdLst>
              <a:gd name="connsiteX0" fmla="*/ 0 w 4992864"/>
              <a:gd name="connsiteY0" fmla="*/ 0 h 6858000"/>
              <a:gd name="connsiteX1" fmla="*/ 4813476 w 4992864"/>
              <a:gd name="connsiteY1" fmla="*/ 0 h 6858000"/>
              <a:gd name="connsiteX2" fmla="*/ 4818239 w 4992864"/>
              <a:gd name="connsiteY2" fmla="*/ 66675 h 6858000"/>
              <a:gd name="connsiteX3" fmla="*/ 4826176 w 4992864"/>
              <a:gd name="connsiteY3" fmla="*/ 122237 h 6858000"/>
              <a:gd name="connsiteX4" fmla="*/ 4835701 w 4992864"/>
              <a:gd name="connsiteY4" fmla="*/ 174625 h 6858000"/>
              <a:gd name="connsiteX5" fmla="*/ 4851576 w 4992864"/>
              <a:gd name="connsiteY5" fmla="*/ 217487 h 6858000"/>
              <a:gd name="connsiteX6" fmla="*/ 4867451 w 4992864"/>
              <a:gd name="connsiteY6" fmla="*/ 260350 h 6858000"/>
              <a:gd name="connsiteX7" fmla="*/ 4886501 w 4992864"/>
              <a:gd name="connsiteY7" fmla="*/ 296862 h 6858000"/>
              <a:gd name="connsiteX8" fmla="*/ 4905551 w 4992864"/>
              <a:gd name="connsiteY8" fmla="*/ 334962 h 6858000"/>
              <a:gd name="connsiteX9" fmla="*/ 4923014 w 4992864"/>
              <a:gd name="connsiteY9" fmla="*/ 369887 h 6858000"/>
              <a:gd name="connsiteX10" fmla="*/ 4940476 w 4992864"/>
              <a:gd name="connsiteY10" fmla="*/ 409575 h 6858000"/>
              <a:gd name="connsiteX11" fmla="*/ 4956351 w 4992864"/>
              <a:gd name="connsiteY11" fmla="*/ 450850 h 6858000"/>
              <a:gd name="connsiteX12" fmla="*/ 4970639 w 4992864"/>
              <a:gd name="connsiteY12" fmla="*/ 496887 h 6858000"/>
              <a:gd name="connsiteX13" fmla="*/ 4981751 w 4992864"/>
              <a:gd name="connsiteY13" fmla="*/ 546100 h 6858000"/>
              <a:gd name="connsiteX14" fmla="*/ 4989689 w 4992864"/>
              <a:gd name="connsiteY14" fmla="*/ 606425 h 6858000"/>
              <a:gd name="connsiteX15" fmla="*/ 4992864 w 4992864"/>
              <a:gd name="connsiteY15" fmla="*/ 673100 h 6858000"/>
              <a:gd name="connsiteX16" fmla="*/ 4989689 w 4992864"/>
              <a:gd name="connsiteY16" fmla="*/ 744537 h 6858000"/>
              <a:gd name="connsiteX17" fmla="*/ 4981751 w 4992864"/>
              <a:gd name="connsiteY17" fmla="*/ 801687 h 6858000"/>
              <a:gd name="connsiteX18" fmla="*/ 4970639 w 4992864"/>
              <a:gd name="connsiteY18" fmla="*/ 854075 h 6858000"/>
              <a:gd name="connsiteX19" fmla="*/ 4956351 w 4992864"/>
              <a:gd name="connsiteY19" fmla="*/ 901700 h 6858000"/>
              <a:gd name="connsiteX20" fmla="*/ 4940476 w 4992864"/>
              <a:gd name="connsiteY20" fmla="*/ 942975 h 6858000"/>
              <a:gd name="connsiteX21" fmla="*/ 4921426 w 4992864"/>
              <a:gd name="connsiteY21" fmla="*/ 981075 h 6858000"/>
              <a:gd name="connsiteX22" fmla="*/ 4902376 w 4992864"/>
              <a:gd name="connsiteY22" fmla="*/ 1017587 h 6858000"/>
              <a:gd name="connsiteX23" fmla="*/ 4883326 w 4992864"/>
              <a:gd name="connsiteY23" fmla="*/ 1055687 h 6858000"/>
              <a:gd name="connsiteX24" fmla="*/ 4865864 w 4992864"/>
              <a:gd name="connsiteY24" fmla="*/ 1095375 h 6858000"/>
              <a:gd name="connsiteX25" fmla="*/ 4848401 w 4992864"/>
              <a:gd name="connsiteY25" fmla="*/ 1136650 h 6858000"/>
              <a:gd name="connsiteX26" fmla="*/ 4834114 w 4992864"/>
              <a:gd name="connsiteY26" fmla="*/ 1182687 h 6858000"/>
              <a:gd name="connsiteX27" fmla="*/ 4824589 w 4992864"/>
              <a:gd name="connsiteY27" fmla="*/ 1235075 h 6858000"/>
              <a:gd name="connsiteX28" fmla="*/ 4815064 w 4992864"/>
              <a:gd name="connsiteY28" fmla="*/ 1295400 h 6858000"/>
              <a:gd name="connsiteX29" fmla="*/ 4813476 w 4992864"/>
              <a:gd name="connsiteY29" fmla="*/ 1363662 h 6858000"/>
              <a:gd name="connsiteX30" fmla="*/ 4815064 w 4992864"/>
              <a:gd name="connsiteY30" fmla="*/ 1431925 h 6858000"/>
              <a:gd name="connsiteX31" fmla="*/ 4824589 w 4992864"/>
              <a:gd name="connsiteY31" fmla="*/ 1492250 h 6858000"/>
              <a:gd name="connsiteX32" fmla="*/ 4834114 w 4992864"/>
              <a:gd name="connsiteY32" fmla="*/ 1544637 h 6858000"/>
              <a:gd name="connsiteX33" fmla="*/ 4848401 w 4992864"/>
              <a:gd name="connsiteY33" fmla="*/ 1589087 h 6858000"/>
              <a:gd name="connsiteX34" fmla="*/ 4865864 w 4992864"/>
              <a:gd name="connsiteY34" fmla="*/ 1631950 h 6858000"/>
              <a:gd name="connsiteX35" fmla="*/ 4883326 w 4992864"/>
              <a:gd name="connsiteY35" fmla="*/ 1671637 h 6858000"/>
              <a:gd name="connsiteX36" fmla="*/ 4902376 w 4992864"/>
              <a:gd name="connsiteY36" fmla="*/ 1708150 h 6858000"/>
              <a:gd name="connsiteX37" fmla="*/ 4921426 w 4992864"/>
              <a:gd name="connsiteY37" fmla="*/ 1743075 h 6858000"/>
              <a:gd name="connsiteX38" fmla="*/ 4940476 w 4992864"/>
              <a:gd name="connsiteY38" fmla="*/ 1782762 h 6858000"/>
              <a:gd name="connsiteX39" fmla="*/ 4956351 w 4992864"/>
              <a:gd name="connsiteY39" fmla="*/ 1824037 h 6858000"/>
              <a:gd name="connsiteX40" fmla="*/ 4970639 w 4992864"/>
              <a:gd name="connsiteY40" fmla="*/ 1870075 h 6858000"/>
              <a:gd name="connsiteX41" fmla="*/ 4981751 w 4992864"/>
              <a:gd name="connsiteY41" fmla="*/ 1922462 h 6858000"/>
              <a:gd name="connsiteX42" fmla="*/ 4989689 w 4992864"/>
              <a:gd name="connsiteY42" fmla="*/ 1982787 h 6858000"/>
              <a:gd name="connsiteX43" fmla="*/ 4992864 w 4992864"/>
              <a:gd name="connsiteY43" fmla="*/ 2051050 h 6858000"/>
              <a:gd name="connsiteX44" fmla="*/ 4989689 w 4992864"/>
              <a:gd name="connsiteY44" fmla="*/ 2119312 h 6858000"/>
              <a:gd name="connsiteX45" fmla="*/ 4981751 w 4992864"/>
              <a:gd name="connsiteY45" fmla="*/ 2179637 h 6858000"/>
              <a:gd name="connsiteX46" fmla="*/ 4970639 w 4992864"/>
              <a:gd name="connsiteY46" fmla="*/ 2232025 h 6858000"/>
              <a:gd name="connsiteX47" fmla="*/ 4956351 w 4992864"/>
              <a:gd name="connsiteY47" fmla="*/ 2278062 h 6858000"/>
              <a:gd name="connsiteX48" fmla="*/ 4940476 w 4992864"/>
              <a:gd name="connsiteY48" fmla="*/ 2319337 h 6858000"/>
              <a:gd name="connsiteX49" fmla="*/ 4921426 w 4992864"/>
              <a:gd name="connsiteY49" fmla="*/ 2359025 h 6858000"/>
              <a:gd name="connsiteX50" fmla="*/ 4902376 w 4992864"/>
              <a:gd name="connsiteY50" fmla="*/ 2395537 h 6858000"/>
              <a:gd name="connsiteX51" fmla="*/ 4883326 w 4992864"/>
              <a:gd name="connsiteY51" fmla="*/ 2433637 h 6858000"/>
              <a:gd name="connsiteX52" fmla="*/ 4865864 w 4992864"/>
              <a:gd name="connsiteY52" fmla="*/ 2471737 h 6858000"/>
              <a:gd name="connsiteX53" fmla="*/ 4848401 w 4992864"/>
              <a:gd name="connsiteY53" fmla="*/ 2513012 h 6858000"/>
              <a:gd name="connsiteX54" fmla="*/ 4834114 w 4992864"/>
              <a:gd name="connsiteY54" fmla="*/ 2560637 h 6858000"/>
              <a:gd name="connsiteX55" fmla="*/ 4824589 w 4992864"/>
              <a:gd name="connsiteY55" fmla="*/ 2613025 h 6858000"/>
              <a:gd name="connsiteX56" fmla="*/ 4815064 w 4992864"/>
              <a:gd name="connsiteY56" fmla="*/ 2671762 h 6858000"/>
              <a:gd name="connsiteX57" fmla="*/ 4813476 w 4992864"/>
              <a:gd name="connsiteY57" fmla="*/ 2741612 h 6858000"/>
              <a:gd name="connsiteX58" fmla="*/ 4815064 w 4992864"/>
              <a:gd name="connsiteY58" fmla="*/ 2809875 h 6858000"/>
              <a:gd name="connsiteX59" fmla="*/ 4824589 w 4992864"/>
              <a:gd name="connsiteY59" fmla="*/ 2868612 h 6858000"/>
              <a:gd name="connsiteX60" fmla="*/ 4834114 w 4992864"/>
              <a:gd name="connsiteY60" fmla="*/ 2922587 h 6858000"/>
              <a:gd name="connsiteX61" fmla="*/ 4848401 w 4992864"/>
              <a:gd name="connsiteY61" fmla="*/ 2967037 h 6858000"/>
              <a:gd name="connsiteX62" fmla="*/ 4865864 w 4992864"/>
              <a:gd name="connsiteY62" fmla="*/ 3009900 h 6858000"/>
              <a:gd name="connsiteX63" fmla="*/ 4883326 w 4992864"/>
              <a:gd name="connsiteY63" fmla="*/ 3046412 h 6858000"/>
              <a:gd name="connsiteX64" fmla="*/ 4902376 w 4992864"/>
              <a:gd name="connsiteY64" fmla="*/ 3084512 h 6858000"/>
              <a:gd name="connsiteX65" fmla="*/ 4921426 w 4992864"/>
              <a:gd name="connsiteY65" fmla="*/ 3121025 h 6858000"/>
              <a:gd name="connsiteX66" fmla="*/ 4940476 w 4992864"/>
              <a:gd name="connsiteY66" fmla="*/ 3160712 h 6858000"/>
              <a:gd name="connsiteX67" fmla="*/ 4956351 w 4992864"/>
              <a:gd name="connsiteY67" fmla="*/ 3201987 h 6858000"/>
              <a:gd name="connsiteX68" fmla="*/ 4970639 w 4992864"/>
              <a:gd name="connsiteY68" fmla="*/ 3248025 h 6858000"/>
              <a:gd name="connsiteX69" fmla="*/ 4981751 w 4992864"/>
              <a:gd name="connsiteY69" fmla="*/ 3300412 h 6858000"/>
              <a:gd name="connsiteX70" fmla="*/ 4989689 w 4992864"/>
              <a:gd name="connsiteY70" fmla="*/ 3360737 h 6858000"/>
              <a:gd name="connsiteX71" fmla="*/ 4992864 w 4992864"/>
              <a:gd name="connsiteY71" fmla="*/ 3427412 h 6858000"/>
              <a:gd name="connsiteX72" fmla="*/ 4989689 w 4992864"/>
              <a:gd name="connsiteY72" fmla="*/ 3497262 h 6858000"/>
              <a:gd name="connsiteX73" fmla="*/ 4981751 w 4992864"/>
              <a:gd name="connsiteY73" fmla="*/ 3557587 h 6858000"/>
              <a:gd name="connsiteX74" fmla="*/ 4970639 w 4992864"/>
              <a:gd name="connsiteY74" fmla="*/ 3609975 h 6858000"/>
              <a:gd name="connsiteX75" fmla="*/ 4956351 w 4992864"/>
              <a:gd name="connsiteY75" fmla="*/ 3656012 h 6858000"/>
              <a:gd name="connsiteX76" fmla="*/ 4940476 w 4992864"/>
              <a:gd name="connsiteY76" fmla="*/ 3697287 h 6858000"/>
              <a:gd name="connsiteX77" fmla="*/ 4921426 w 4992864"/>
              <a:gd name="connsiteY77" fmla="*/ 3736975 h 6858000"/>
              <a:gd name="connsiteX78" fmla="*/ 4883326 w 4992864"/>
              <a:gd name="connsiteY78" fmla="*/ 3811587 h 6858000"/>
              <a:gd name="connsiteX79" fmla="*/ 4865864 w 4992864"/>
              <a:gd name="connsiteY79" fmla="*/ 3848100 h 6858000"/>
              <a:gd name="connsiteX80" fmla="*/ 4848401 w 4992864"/>
              <a:gd name="connsiteY80" fmla="*/ 3890962 h 6858000"/>
              <a:gd name="connsiteX81" fmla="*/ 4834114 w 4992864"/>
              <a:gd name="connsiteY81" fmla="*/ 3935412 h 6858000"/>
              <a:gd name="connsiteX82" fmla="*/ 4824589 w 4992864"/>
              <a:gd name="connsiteY82" fmla="*/ 3987800 h 6858000"/>
              <a:gd name="connsiteX83" fmla="*/ 4815064 w 4992864"/>
              <a:gd name="connsiteY83" fmla="*/ 4048125 h 6858000"/>
              <a:gd name="connsiteX84" fmla="*/ 4813476 w 4992864"/>
              <a:gd name="connsiteY84" fmla="*/ 4116387 h 6858000"/>
              <a:gd name="connsiteX85" fmla="*/ 4815064 w 4992864"/>
              <a:gd name="connsiteY85" fmla="*/ 4186237 h 6858000"/>
              <a:gd name="connsiteX86" fmla="*/ 4824589 w 4992864"/>
              <a:gd name="connsiteY86" fmla="*/ 4244975 h 6858000"/>
              <a:gd name="connsiteX87" fmla="*/ 4834114 w 4992864"/>
              <a:gd name="connsiteY87" fmla="*/ 4297362 h 6858000"/>
              <a:gd name="connsiteX88" fmla="*/ 4848401 w 4992864"/>
              <a:gd name="connsiteY88" fmla="*/ 4343400 h 6858000"/>
              <a:gd name="connsiteX89" fmla="*/ 4865864 w 4992864"/>
              <a:gd name="connsiteY89" fmla="*/ 4386262 h 6858000"/>
              <a:gd name="connsiteX90" fmla="*/ 4883326 w 4992864"/>
              <a:gd name="connsiteY90" fmla="*/ 4424362 h 6858000"/>
              <a:gd name="connsiteX91" fmla="*/ 4921426 w 4992864"/>
              <a:gd name="connsiteY91" fmla="*/ 4498975 h 6858000"/>
              <a:gd name="connsiteX92" fmla="*/ 4940476 w 4992864"/>
              <a:gd name="connsiteY92" fmla="*/ 4537075 h 6858000"/>
              <a:gd name="connsiteX93" fmla="*/ 4956351 w 4992864"/>
              <a:gd name="connsiteY93" fmla="*/ 4579937 h 6858000"/>
              <a:gd name="connsiteX94" fmla="*/ 4970639 w 4992864"/>
              <a:gd name="connsiteY94" fmla="*/ 4625975 h 6858000"/>
              <a:gd name="connsiteX95" fmla="*/ 4981751 w 4992864"/>
              <a:gd name="connsiteY95" fmla="*/ 4678362 h 6858000"/>
              <a:gd name="connsiteX96" fmla="*/ 4989689 w 4992864"/>
              <a:gd name="connsiteY96" fmla="*/ 4738687 h 6858000"/>
              <a:gd name="connsiteX97" fmla="*/ 4992864 w 4992864"/>
              <a:gd name="connsiteY97" fmla="*/ 4806950 h 6858000"/>
              <a:gd name="connsiteX98" fmla="*/ 4989689 w 4992864"/>
              <a:gd name="connsiteY98" fmla="*/ 4875212 h 6858000"/>
              <a:gd name="connsiteX99" fmla="*/ 4981751 w 4992864"/>
              <a:gd name="connsiteY99" fmla="*/ 4935537 h 6858000"/>
              <a:gd name="connsiteX100" fmla="*/ 4970639 w 4992864"/>
              <a:gd name="connsiteY100" fmla="*/ 4987925 h 6858000"/>
              <a:gd name="connsiteX101" fmla="*/ 4956351 w 4992864"/>
              <a:gd name="connsiteY101" fmla="*/ 5033962 h 6858000"/>
              <a:gd name="connsiteX102" fmla="*/ 4940476 w 4992864"/>
              <a:gd name="connsiteY102" fmla="*/ 5075237 h 6858000"/>
              <a:gd name="connsiteX103" fmla="*/ 4921426 w 4992864"/>
              <a:gd name="connsiteY103" fmla="*/ 5114925 h 6858000"/>
              <a:gd name="connsiteX104" fmla="*/ 4902376 w 4992864"/>
              <a:gd name="connsiteY104" fmla="*/ 5149850 h 6858000"/>
              <a:gd name="connsiteX105" fmla="*/ 4883326 w 4992864"/>
              <a:gd name="connsiteY105" fmla="*/ 5186362 h 6858000"/>
              <a:gd name="connsiteX106" fmla="*/ 4865864 w 4992864"/>
              <a:gd name="connsiteY106" fmla="*/ 5226050 h 6858000"/>
              <a:gd name="connsiteX107" fmla="*/ 4848401 w 4992864"/>
              <a:gd name="connsiteY107" fmla="*/ 5268912 h 6858000"/>
              <a:gd name="connsiteX108" fmla="*/ 4834114 w 4992864"/>
              <a:gd name="connsiteY108" fmla="*/ 5313362 h 6858000"/>
              <a:gd name="connsiteX109" fmla="*/ 4824589 w 4992864"/>
              <a:gd name="connsiteY109" fmla="*/ 5365750 h 6858000"/>
              <a:gd name="connsiteX110" fmla="*/ 4815064 w 4992864"/>
              <a:gd name="connsiteY110" fmla="*/ 5426075 h 6858000"/>
              <a:gd name="connsiteX111" fmla="*/ 4813476 w 4992864"/>
              <a:gd name="connsiteY111" fmla="*/ 5494337 h 6858000"/>
              <a:gd name="connsiteX112" fmla="*/ 4815064 w 4992864"/>
              <a:gd name="connsiteY112" fmla="*/ 5562600 h 6858000"/>
              <a:gd name="connsiteX113" fmla="*/ 4824589 w 4992864"/>
              <a:gd name="connsiteY113" fmla="*/ 5622925 h 6858000"/>
              <a:gd name="connsiteX114" fmla="*/ 4834114 w 4992864"/>
              <a:gd name="connsiteY114" fmla="*/ 5675312 h 6858000"/>
              <a:gd name="connsiteX115" fmla="*/ 4848401 w 4992864"/>
              <a:gd name="connsiteY115" fmla="*/ 5721350 h 6858000"/>
              <a:gd name="connsiteX116" fmla="*/ 4865864 w 4992864"/>
              <a:gd name="connsiteY116" fmla="*/ 5762625 h 6858000"/>
              <a:gd name="connsiteX117" fmla="*/ 4883326 w 4992864"/>
              <a:gd name="connsiteY117" fmla="*/ 5802312 h 6858000"/>
              <a:gd name="connsiteX118" fmla="*/ 4902376 w 4992864"/>
              <a:gd name="connsiteY118" fmla="*/ 5840412 h 6858000"/>
              <a:gd name="connsiteX119" fmla="*/ 4921426 w 4992864"/>
              <a:gd name="connsiteY119" fmla="*/ 5876925 h 6858000"/>
              <a:gd name="connsiteX120" fmla="*/ 4940476 w 4992864"/>
              <a:gd name="connsiteY120" fmla="*/ 5915025 h 6858000"/>
              <a:gd name="connsiteX121" fmla="*/ 4956351 w 4992864"/>
              <a:gd name="connsiteY121" fmla="*/ 5956300 h 6858000"/>
              <a:gd name="connsiteX122" fmla="*/ 4970639 w 4992864"/>
              <a:gd name="connsiteY122" fmla="*/ 6003925 h 6858000"/>
              <a:gd name="connsiteX123" fmla="*/ 4981751 w 4992864"/>
              <a:gd name="connsiteY123" fmla="*/ 6056312 h 6858000"/>
              <a:gd name="connsiteX124" fmla="*/ 4989689 w 4992864"/>
              <a:gd name="connsiteY124" fmla="*/ 6113462 h 6858000"/>
              <a:gd name="connsiteX125" fmla="*/ 4992864 w 4992864"/>
              <a:gd name="connsiteY125" fmla="*/ 6183312 h 6858000"/>
              <a:gd name="connsiteX126" fmla="*/ 4989689 w 4992864"/>
              <a:gd name="connsiteY126" fmla="*/ 6251575 h 6858000"/>
              <a:gd name="connsiteX127" fmla="*/ 4981751 w 4992864"/>
              <a:gd name="connsiteY127" fmla="*/ 6311900 h 6858000"/>
              <a:gd name="connsiteX128" fmla="*/ 4970639 w 4992864"/>
              <a:gd name="connsiteY128" fmla="*/ 6361112 h 6858000"/>
              <a:gd name="connsiteX129" fmla="*/ 4956351 w 4992864"/>
              <a:gd name="connsiteY129" fmla="*/ 6407150 h 6858000"/>
              <a:gd name="connsiteX130" fmla="*/ 4940476 w 4992864"/>
              <a:gd name="connsiteY130" fmla="*/ 6448425 h 6858000"/>
              <a:gd name="connsiteX131" fmla="*/ 4923014 w 4992864"/>
              <a:gd name="connsiteY131" fmla="*/ 6488112 h 6858000"/>
              <a:gd name="connsiteX132" fmla="*/ 4905551 w 4992864"/>
              <a:gd name="connsiteY132" fmla="*/ 6523037 h 6858000"/>
              <a:gd name="connsiteX133" fmla="*/ 4886501 w 4992864"/>
              <a:gd name="connsiteY133" fmla="*/ 6561137 h 6858000"/>
              <a:gd name="connsiteX134" fmla="*/ 4867451 w 4992864"/>
              <a:gd name="connsiteY134" fmla="*/ 6597650 h 6858000"/>
              <a:gd name="connsiteX135" fmla="*/ 4851576 w 4992864"/>
              <a:gd name="connsiteY135" fmla="*/ 6640512 h 6858000"/>
              <a:gd name="connsiteX136" fmla="*/ 4835701 w 4992864"/>
              <a:gd name="connsiteY136" fmla="*/ 6683375 h 6858000"/>
              <a:gd name="connsiteX137" fmla="*/ 4826176 w 4992864"/>
              <a:gd name="connsiteY137" fmla="*/ 6735762 h 6858000"/>
              <a:gd name="connsiteX138" fmla="*/ 4818239 w 4992864"/>
              <a:gd name="connsiteY138" fmla="*/ 6791325 h 6858000"/>
              <a:gd name="connsiteX139" fmla="*/ 4813476 w 4992864"/>
              <a:gd name="connsiteY139" fmla="*/ 6858000 h 6858000"/>
              <a:gd name="connsiteX140" fmla="*/ 0 w 4992864"/>
              <a:gd name="connsiteY14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4992864" h="6858000">
                <a:moveTo>
                  <a:pt x="0" y="0"/>
                </a:moveTo>
                <a:lnTo>
                  <a:pt x="4813476" y="0"/>
                </a:lnTo>
                <a:lnTo>
                  <a:pt x="4818239" y="66675"/>
                </a:lnTo>
                <a:lnTo>
                  <a:pt x="4826176" y="122237"/>
                </a:lnTo>
                <a:lnTo>
                  <a:pt x="4835701" y="174625"/>
                </a:lnTo>
                <a:lnTo>
                  <a:pt x="4851576" y="217487"/>
                </a:lnTo>
                <a:lnTo>
                  <a:pt x="4867451" y="260350"/>
                </a:lnTo>
                <a:lnTo>
                  <a:pt x="4886501" y="296862"/>
                </a:lnTo>
                <a:lnTo>
                  <a:pt x="4905551" y="334962"/>
                </a:lnTo>
                <a:lnTo>
                  <a:pt x="4923014" y="369887"/>
                </a:lnTo>
                <a:lnTo>
                  <a:pt x="4940476" y="409575"/>
                </a:lnTo>
                <a:lnTo>
                  <a:pt x="4956351" y="450850"/>
                </a:lnTo>
                <a:lnTo>
                  <a:pt x="4970639" y="496887"/>
                </a:lnTo>
                <a:lnTo>
                  <a:pt x="4981751" y="546100"/>
                </a:lnTo>
                <a:lnTo>
                  <a:pt x="4989689" y="606425"/>
                </a:lnTo>
                <a:lnTo>
                  <a:pt x="4992864" y="673100"/>
                </a:lnTo>
                <a:lnTo>
                  <a:pt x="4989689" y="744537"/>
                </a:lnTo>
                <a:lnTo>
                  <a:pt x="4981751" y="801687"/>
                </a:lnTo>
                <a:lnTo>
                  <a:pt x="4970639" y="854075"/>
                </a:lnTo>
                <a:lnTo>
                  <a:pt x="4956351" y="901700"/>
                </a:lnTo>
                <a:lnTo>
                  <a:pt x="4940476" y="942975"/>
                </a:lnTo>
                <a:lnTo>
                  <a:pt x="4921426" y="981075"/>
                </a:lnTo>
                <a:lnTo>
                  <a:pt x="4902376" y="1017587"/>
                </a:lnTo>
                <a:lnTo>
                  <a:pt x="4883326" y="1055687"/>
                </a:lnTo>
                <a:lnTo>
                  <a:pt x="4865864" y="1095375"/>
                </a:lnTo>
                <a:lnTo>
                  <a:pt x="4848401" y="1136650"/>
                </a:lnTo>
                <a:lnTo>
                  <a:pt x="4834114" y="1182687"/>
                </a:lnTo>
                <a:lnTo>
                  <a:pt x="4824589" y="1235075"/>
                </a:lnTo>
                <a:lnTo>
                  <a:pt x="4815064" y="1295400"/>
                </a:lnTo>
                <a:lnTo>
                  <a:pt x="4813476" y="1363662"/>
                </a:lnTo>
                <a:lnTo>
                  <a:pt x="4815064" y="1431925"/>
                </a:lnTo>
                <a:lnTo>
                  <a:pt x="4824589" y="1492250"/>
                </a:lnTo>
                <a:lnTo>
                  <a:pt x="4834114" y="1544637"/>
                </a:lnTo>
                <a:lnTo>
                  <a:pt x="4848401" y="1589087"/>
                </a:lnTo>
                <a:lnTo>
                  <a:pt x="4865864" y="1631950"/>
                </a:lnTo>
                <a:lnTo>
                  <a:pt x="4883326" y="1671637"/>
                </a:lnTo>
                <a:lnTo>
                  <a:pt x="4902376" y="1708150"/>
                </a:lnTo>
                <a:lnTo>
                  <a:pt x="4921426" y="1743075"/>
                </a:lnTo>
                <a:lnTo>
                  <a:pt x="4940476" y="1782762"/>
                </a:lnTo>
                <a:lnTo>
                  <a:pt x="4956351" y="1824037"/>
                </a:lnTo>
                <a:lnTo>
                  <a:pt x="4970639" y="1870075"/>
                </a:lnTo>
                <a:lnTo>
                  <a:pt x="4981751" y="1922462"/>
                </a:lnTo>
                <a:lnTo>
                  <a:pt x="4989689" y="1982787"/>
                </a:lnTo>
                <a:lnTo>
                  <a:pt x="4992864" y="2051050"/>
                </a:lnTo>
                <a:lnTo>
                  <a:pt x="4989689" y="2119312"/>
                </a:lnTo>
                <a:lnTo>
                  <a:pt x="4981751" y="2179637"/>
                </a:lnTo>
                <a:lnTo>
                  <a:pt x="4970639" y="2232025"/>
                </a:lnTo>
                <a:lnTo>
                  <a:pt x="4956351" y="2278062"/>
                </a:lnTo>
                <a:lnTo>
                  <a:pt x="4940476" y="2319337"/>
                </a:lnTo>
                <a:lnTo>
                  <a:pt x="4921426" y="2359025"/>
                </a:lnTo>
                <a:lnTo>
                  <a:pt x="4902376" y="2395537"/>
                </a:lnTo>
                <a:lnTo>
                  <a:pt x="4883326" y="2433637"/>
                </a:lnTo>
                <a:lnTo>
                  <a:pt x="4865864" y="2471737"/>
                </a:lnTo>
                <a:lnTo>
                  <a:pt x="4848401" y="2513012"/>
                </a:lnTo>
                <a:lnTo>
                  <a:pt x="4834114" y="2560637"/>
                </a:lnTo>
                <a:lnTo>
                  <a:pt x="4824589" y="2613025"/>
                </a:lnTo>
                <a:lnTo>
                  <a:pt x="4815064" y="2671762"/>
                </a:lnTo>
                <a:lnTo>
                  <a:pt x="4813476" y="2741612"/>
                </a:lnTo>
                <a:lnTo>
                  <a:pt x="4815064" y="2809875"/>
                </a:lnTo>
                <a:lnTo>
                  <a:pt x="4824589" y="2868612"/>
                </a:lnTo>
                <a:lnTo>
                  <a:pt x="4834114" y="2922587"/>
                </a:lnTo>
                <a:lnTo>
                  <a:pt x="4848401" y="2967037"/>
                </a:lnTo>
                <a:lnTo>
                  <a:pt x="4865864" y="3009900"/>
                </a:lnTo>
                <a:lnTo>
                  <a:pt x="4883326" y="3046412"/>
                </a:lnTo>
                <a:lnTo>
                  <a:pt x="4902376" y="3084512"/>
                </a:lnTo>
                <a:lnTo>
                  <a:pt x="4921426" y="3121025"/>
                </a:lnTo>
                <a:lnTo>
                  <a:pt x="4940476" y="3160712"/>
                </a:lnTo>
                <a:lnTo>
                  <a:pt x="4956351" y="3201987"/>
                </a:lnTo>
                <a:lnTo>
                  <a:pt x="4970639" y="3248025"/>
                </a:lnTo>
                <a:lnTo>
                  <a:pt x="4981751" y="3300412"/>
                </a:lnTo>
                <a:lnTo>
                  <a:pt x="4989689" y="3360737"/>
                </a:lnTo>
                <a:lnTo>
                  <a:pt x="4992864" y="3427412"/>
                </a:lnTo>
                <a:lnTo>
                  <a:pt x="4989689" y="3497262"/>
                </a:lnTo>
                <a:lnTo>
                  <a:pt x="4981751" y="3557587"/>
                </a:lnTo>
                <a:lnTo>
                  <a:pt x="4970639" y="3609975"/>
                </a:lnTo>
                <a:lnTo>
                  <a:pt x="4956351" y="3656012"/>
                </a:lnTo>
                <a:lnTo>
                  <a:pt x="4940476" y="3697287"/>
                </a:lnTo>
                <a:lnTo>
                  <a:pt x="4921426" y="3736975"/>
                </a:lnTo>
                <a:lnTo>
                  <a:pt x="4883326" y="3811587"/>
                </a:lnTo>
                <a:lnTo>
                  <a:pt x="4865864" y="3848100"/>
                </a:lnTo>
                <a:lnTo>
                  <a:pt x="4848401" y="3890962"/>
                </a:lnTo>
                <a:lnTo>
                  <a:pt x="4834114" y="3935412"/>
                </a:lnTo>
                <a:lnTo>
                  <a:pt x="4824589" y="3987800"/>
                </a:lnTo>
                <a:lnTo>
                  <a:pt x="4815064" y="4048125"/>
                </a:lnTo>
                <a:lnTo>
                  <a:pt x="4813476" y="4116387"/>
                </a:lnTo>
                <a:lnTo>
                  <a:pt x="4815064" y="4186237"/>
                </a:lnTo>
                <a:lnTo>
                  <a:pt x="4824589" y="4244975"/>
                </a:lnTo>
                <a:lnTo>
                  <a:pt x="4834114" y="4297362"/>
                </a:lnTo>
                <a:lnTo>
                  <a:pt x="4848401" y="4343400"/>
                </a:lnTo>
                <a:lnTo>
                  <a:pt x="4865864" y="4386262"/>
                </a:lnTo>
                <a:lnTo>
                  <a:pt x="4883326" y="4424362"/>
                </a:lnTo>
                <a:lnTo>
                  <a:pt x="4921426" y="4498975"/>
                </a:lnTo>
                <a:lnTo>
                  <a:pt x="4940476" y="4537075"/>
                </a:lnTo>
                <a:lnTo>
                  <a:pt x="4956351" y="4579937"/>
                </a:lnTo>
                <a:lnTo>
                  <a:pt x="4970639" y="4625975"/>
                </a:lnTo>
                <a:lnTo>
                  <a:pt x="4981751" y="4678362"/>
                </a:lnTo>
                <a:lnTo>
                  <a:pt x="4989689" y="4738687"/>
                </a:lnTo>
                <a:lnTo>
                  <a:pt x="4992864" y="4806950"/>
                </a:lnTo>
                <a:lnTo>
                  <a:pt x="4989689" y="4875212"/>
                </a:lnTo>
                <a:lnTo>
                  <a:pt x="4981751" y="4935537"/>
                </a:lnTo>
                <a:lnTo>
                  <a:pt x="4970639" y="4987925"/>
                </a:lnTo>
                <a:lnTo>
                  <a:pt x="4956351" y="5033962"/>
                </a:lnTo>
                <a:lnTo>
                  <a:pt x="4940476" y="5075237"/>
                </a:lnTo>
                <a:lnTo>
                  <a:pt x="4921426" y="5114925"/>
                </a:lnTo>
                <a:lnTo>
                  <a:pt x="4902376" y="5149850"/>
                </a:lnTo>
                <a:lnTo>
                  <a:pt x="4883326" y="5186362"/>
                </a:lnTo>
                <a:lnTo>
                  <a:pt x="4865864" y="5226050"/>
                </a:lnTo>
                <a:lnTo>
                  <a:pt x="4848401" y="5268912"/>
                </a:lnTo>
                <a:lnTo>
                  <a:pt x="4834114" y="5313362"/>
                </a:lnTo>
                <a:lnTo>
                  <a:pt x="4824589" y="5365750"/>
                </a:lnTo>
                <a:lnTo>
                  <a:pt x="4815064" y="5426075"/>
                </a:lnTo>
                <a:lnTo>
                  <a:pt x="4813476" y="5494337"/>
                </a:lnTo>
                <a:lnTo>
                  <a:pt x="4815064" y="5562600"/>
                </a:lnTo>
                <a:lnTo>
                  <a:pt x="4824589" y="5622925"/>
                </a:lnTo>
                <a:lnTo>
                  <a:pt x="4834114" y="5675312"/>
                </a:lnTo>
                <a:lnTo>
                  <a:pt x="4848401" y="5721350"/>
                </a:lnTo>
                <a:lnTo>
                  <a:pt x="4865864" y="5762625"/>
                </a:lnTo>
                <a:lnTo>
                  <a:pt x="4883326" y="5802312"/>
                </a:lnTo>
                <a:lnTo>
                  <a:pt x="4902376" y="5840412"/>
                </a:lnTo>
                <a:lnTo>
                  <a:pt x="4921426" y="5876925"/>
                </a:lnTo>
                <a:lnTo>
                  <a:pt x="4940476" y="5915025"/>
                </a:lnTo>
                <a:lnTo>
                  <a:pt x="4956351" y="5956300"/>
                </a:lnTo>
                <a:lnTo>
                  <a:pt x="4970639" y="6003925"/>
                </a:lnTo>
                <a:lnTo>
                  <a:pt x="4981751" y="6056312"/>
                </a:lnTo>
                <a:lnTo>
                  <a:pt x="4989689" y="6113462"/>
                </a:lnTo>
                <a:lnTo>
                  <a:pt x="4992864" y="6183312"/>
                </a:lnTo>
                <a:lnTo>
                  <a:pt x="4989689" y="6251575"/>
                </a:lnTo>
                <a:lnTo>
                  <a:pt x="4981751" y="6311900"/>
                </a:lnTo>
                <a:lnTo>
                  <a:pt x="4970639" y="6361112"/>
                </a:lnTo>
                <a:lnTo>
                  <a:pt x="4956351" y="6407150"/>
                </a:lnTo>
                <a:lnTo>
                  <a:pt x="4940476" y="6448425"/>
                </a:lnTo>
                <a:lnTo>
                  <a:pt x="4923014" y="6488112"/>
                </a:lnTo>
                <a:lnTo>
                  <a:pt x="4905551" y="6523037"/>
                </a:lnTo>
                <a:lnTo>
                  <a:pt x="4886501" y="6561137"/>
                </a:lnTo>
                <a:lnTo>
                  <a:pt x="4867451" y="6597650"/>
                </a:lnTo>
                <a:lnTo>
                  <a:pt x="4851576" y="6640512"/>
                </a:lnTo>
                <a:lnTo>
                  <a:pt x="4835701" y="6683375"/>
                </a:lnTo>
                <a:lnTo>
                  <a:pt x="4826176" y="6735762"/>
                </a:lnTo>
                <a:lnTo>
                  <a:pt x="4818239" y="6791325"/>
                </a:lnTo>
                <a:lnTo>
                  <a:pt x="48134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EC76596-FEC2-4CB7-A2F9-0B04A41B6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396" y="2461324"/>
            <a:ext cx="3437290" cy="193534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spc="800" dirty="0" err="1">
                <a:solidFill>
                  <a:srgbClr val="2A1A00"/>
                </a:solidFill>
              </a:rPr>
              <a:t>Fluxograma</a:t>
            </a:r>
            <a:r>
              <a:rPr lang="en-US" sz="2400" spc="800" dirty="0">
                <a:solidFill>
                  <a:srgbClr val="2A1A00"/>
                </a:solidFill>
              </a:rPr>
              <a:t> da </a:t>
            </a:r>
            <a:r>
              <a:rPr lang="en-US" sz="2400" spc="800" dirty="0" err="1">
                <a:solidFill>
                  <a:srgbClr val="2A1A00"/>
                </a:solidFill>
              </a:rPr>
              <a:t>recomendação</a:t>
            </a:r>
            <a:endParaRPr lang="en-US" sz="2400" spc="800" dirty="0">
              <a:solidFill>
                <a:srgbClr val="2A1A00"/>
              </a:solidFill>
            </a:endParaRPr>
          </a:p>
        </p:txBody>
      </p:sp>
      <p:pic>
        <p:nvPicPr>
          <p:cNvPr id="5" name="Espaço Reservado para Conteúdo 4" descr="Diagrama&#10;&#10;Descrição gerada automaticamente">
            <a:extLst>
              <a:ext uri="{FF2B5EF4-FFF2-40B4-BE49-F238E27FC236}">
                <a16:creationId xmlns:a16="http://schemas.microsoft.com/office/drawing/2014/main" id="{9A006A2B-EE33-4A34-866A-3C9A0AF1BF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8831" y="368132"/>
            <a:ext cx="6230773" cy="612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5830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55DCE99-454B-4A2B-9EF3-51C0A6FDD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679" y="644525"/>
            <a:ext cx="3384329" cy="5408866"/>
          </a:xfrm>
        </p:spPr>
        <p:txBody>
          <a:bodyPr anchor="ctr">
            <a:normAutofit/>
          </a:bodyPr>
          <a:lstStyle/>
          <a:p>
            <a:r>
              <a:rPr lang="pt-BR" sz="4000"/>
              <a:t>O que pretendemos melhorar com a solução do problema?</a:t>
            </a:r>
          </a:p>
        </p:txBody>
      </p:sp>
      <p:graphicFrame>
        <p:nvGraphicFramePr>
          <p:cNvPr id="5" name="Espaço Reservado para Conteúdo 2">
            <a:extLst>
              <a:ext uri="{FF2B5EF4-FFF2-40B4-BE49-F238E27FC236}">
                <a16:creationId xmlns:a16="http://schemas.microsoft.com/office/drawing/2014/main" id="{3DAB24B6-1FD9-4E74-B7D7-B4675DDB1A7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78616855"/>
              </p:ext>
            </p:extLst>
          </p:nvPr>
        </p:nvGraphicFramePr>
        <p:xfrm>
          <a:off x="5175250" y="644525"/>
          <a:ext cx="6254750" cy="54088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01942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401F7E-6321-4EDA-B85F-879ACC221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677" y="645105"/>
            <a:ext cx="4357499" cy="1320855"/>
          </a:xfrm>
        </p:spPr>
        <p:txBody>
          <a:bodyPr>
            <a:normAutofit/>
          </a:bodyPr>
          <a:lstStyle/>
          <a:p>
            <a:r>
              <a:rPr lang="pt-BR" sz="4400" dirty="0"/>
              <a:t>KPI Medidos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041F19F-8CA8-446C-A775-693ECF721E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8" y="2286001"/>
            <a:ext cx="4363595" cy="359359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dirty="0"/>
              <a:t>Pretendemos medir a contribuição do aplicativo </a:t>
            </a:r>
            <a:r>
              <a:rPr lang="pt-BR" dirty="0" err="1"/>
              <a:t>Bees</a:t>
            </a:r>
            <a:r>
              <a:rPr lang="pt-BR" dirty="0"/>
              <a:t> através de:</a:t>
            </a:r>
          </a:p>
          <a:p>
            <a:endParaRPr lang="pt-BR" dirty="0"/>
          </a:p>
          <a:p>
            <a:r>
              <a:rPr lang="pt-BR" dirty="0"/>
              <a:t>Ticket Médio</a:t>
            </a:r>
          </a:p>
          <a:p>
            <a:endParaRPr lang="pt-BR" dirty="0"/>
          </a:p>
          <a:p>
            <a:r>
              <a:rPr lang="pt-BR" dirty="0"/>
              <a:t>Canibalização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</p:txBody>
      </p:sp>
      <p:pic>
        <p:nvPicPr>
          <p:cNvPr id="13" name="Picture 4" descr="Lupa mostrando declínio de desempenho">
            <a:extLst>
              <a:ext uri="{FF2B5EF4-FFF2-40B4-BE49-F238E27FC236}">
                <a16:creationId xmlns:a16="http://schemas.microsoft.com/office/drawing/2014/main" id="{CCAC5D5B-099D-4AE1-8E78-F0E5EE4994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41" r="31829" b="1"/>
          <a:stretch/>
        </p:blipFill>
        <p:spPr>
          <a:xfrm>
            <a:off x="6096000" y="580713"/>
            <a:ext cx="5414304" cy="5407737"/>
          </a:xfrm>
          <a:custGeom>
            <a:avLst/>
            <a:gdLst/>
            <a:ahLst/>
            <a:cxnLst/>
            <a:rect l="l" t="t" r="r" b="b"/>
            <a:pathLst>
              <a:path w="3860171" h="3855489">
                <a:moveTo>
                  <a:pt x="1930086" y="0"/>
                </a:moveTo>
                <a:lnTo>
                  <a:pt x="1967540" y="3511"/>
                </a:lnTo>
                <a:lnTo>
                  <a:pt x="2003824" y="12875"/>
                </a:lnTo>
                <a:lnTo>
                  <a:pt x="2038938" y="26920"/>
                </a:lnTo>
                <a:lnTo>
                  <a:pt x="2075222" y="44477"/>
                </a:lnTo>
                <a:lnTo>
                  <a:pt x="2109166" y="64375"/>
                </a:lnTo>
                <a:lnTo>
                  <a:pt x="2144279" y="85443"/>
                </a:lnTo>
                <a:lnTo>
                  <a:pt x="2179393" y="104171"/>
                </a:lnTo>
                <a:lnTo>
                  <a:pt x="2214507" y="122898"/>
                </a:lnTo>
                <a:lnTo>
                  <a:pt x="2248450" y="136943"/>
                </a:lnTo>
                <a:lnTo>
                  <a:pt x="2285905" y="146307"/>
                </a:lnTo>
                <a:lnTo>
                  <a:pt x="2322189" y="150989"/>
                </a:lnTo>
                <a:lnTo>
                  <a:pt x="2360814" y="150989"/>
                </a:lnTo>
                <a:lnTo>
                  <a:pt x="2400610" y="148648"/>
                </a:lnTo>
                <a:lnTo>
                  <a:pt x="2440405" y="143966"/>
                </a:lnTo>
                <a:lnTo>
                  <a:pt x="2480201" y="138114"/>
                </a:lnTo>
                <a:lnTo>
                  <a:pt x="2519996" y="133432"/>
                </a:lnTo>
                <a:lnTo>
                  <a:pt x="2559792" y="129921"/>
                </a:lnTo>
                <a:lnTo>
                  <a:pt x="2597247" y="131091"/>
                </a:lnTo>
                <a:lnTo>
                  <a:pt x="2633531" y="135773"/>
                </a:lnTo>
                <a:lnTo>
                  <a:pt x="2668644" y="146307"/>
                </a:lnTo>
                <a:lnTo>
                  <a:pt x="2697906" y="161523"/>
                </a:lnTo>
                <a:lnTo>
                  <a:pt x="2725997" y="181421"/>
                </a:lnTo>
                <a:lnTo>
                  <a:pt x="2750577" y="204830"/>
                </a:lnTo>
                <a:lnTo>
                  <a:pt x="2775156" y="231750"/>
                </a:lnTo>
                <a:lnTo>
                  <a:pt x="2797395" y="259841"/>
                </a:lnTo>
                <a:lnTo>
                  <a:pt x="2819634" y="289103"/>
                </a:lnTo>
                <a:lnTo>
                  <a:pt x="2841872" y="318364"/>
                </a:lnTo>
                <a:lnTo>
                  <a:pt x="2864111" y="346455"/>
                </a:lnTo>
                <a:lnTo>
                  <a:pt x="2887520" y="373376"/>
                </a:lnTo>
                <a:lnTo>
                  <a:pt x="2914441" y="396785"/>
                </a:lnTo>
                <a:lnTo>
                  <a:pt x="2940191" y="417853"/>
                </a:lnTo>
                <a:lnTo>
                  <a:pt x="2969452" y="434240"/>
                </a:lnTo>
                <a:lnTo>
                  <a:pt x="3001055" y="448285"/>
                </a:lnTo>
                <a:lnTo>
                  <a:pt x="3034998" y="459990"/>
                </a:lnTo>
                <a:lnTo>
                  <a:pt x="3070112" y="470524"/>
                </a:lnTo>
                <a:lnTo>
                  <a:pt x="3105226" y="479888"/>
                </a:lnTo>
                <a:lnTo>
                  <a:pt x="3141510" y="489251"/>
                </a:lnTo>
                <a:lnTo>
                  <a:pt x="3175453" y="499785"/>
                </a:lnTo>
                <a:lnTo>
                  <a:pt x="3209396" y="511490"/>
                </a:lnTo>
                <a:lnTo>
                  <a:pt x="3240999" y="525535"/>
                </a:lnTo>
                <a:lnTo>
                  <a:pt x="3269090" y="543092"/>
                </a:lnTo>
                <a:lnTo>
                  <a:pt x="3294840" y="564161"/>
                </a:lnTo>
                <a:lnTo>
                  <a:pt x="3315908" y="589911"/>
                </a:lnTo>
                <a:lnTo>
                  <a:pt x="3333465" y="618002"/>
                </a:lnTo>
                <a:lnTo>
                  <a:pt x="3347510" y="649604"/>
                </a:lnTo>
                <a:lnTo>
                  <a:pt x="3359215" y="683547"/>
                </a:lnTo>
                <a:lnTo>
                  <a:pt x="3369749" y="717491"/>
                </a:lnTo>
                <a:lnTo>
                  <a:pt x="3379113" y="753775"/>
                </a:lnTo>
                <a:lnTo>
                  <a:pt x="3388476" y="788889"/>
                </a:lnTo>
                <a:lnTo>
                  <a:pt x="3399010" y="824002"/>
                </a:lnTo>
                <a:lnTo>
                  <a:pt x="3410715" y="857946"/>
                </a:lnTo>
                <a:lnTo>
                  <a:pt x="3424760" y="889548"/>
                </a:lnTo>
                <a:lnTo>
                  <a:pt x="3441147" y="918809"/>
                </a:lnTo>
                <a:lnTo>
                  <a:pt x="3462215" y="944560"/>
                </a:lnTo>
                <a:lnTo>
                  <a:pt x="3485624" y="971480"/>
                </a:lnTo>
                <a:lnTo>
                  <a:pt x="3512545" y="994889"/>
                </a:lnTo>
                <a:lnTo>
                  <a:pt x="3540636" y="1017128"/>
                </a:lnTo>
                <a:lnTo>
                  <a:pt x="3571068" y="1039367"/>
                </a:lnTo>
                <a:lnTo>
                  <a:pt x="3600329" y="1061605"/>
                </a:lnTo>
                <a:lnTo>
                  <a:pt x="3628420" y="1083844"/>
                </a:lnTo>
                <a:lnTo>
                  <a:pt x="3655341" y="1108424"/>
                </a:lnTo>
                <a:lnTo>
                  <a:pt x="3678750" y="1133003"/>
                </a:lnTo>
                <a:lnTo>
                  <a:pt x="3698648" y="1161094"/>
                </a:lnTo>
                <a:lnTo>
                  <a:pt x="3713864" y="1190356"/>
                </a:lnTo>
                <a:lnTo>
                  <a:pt x="3724398" y="1225469"/>
                </a:lnTo>
                <a:lnTo>
                  <a:pt x="3729080" y="1261754"/>
                </a:lnTo>
                <a:lnTo>
                  <a:pt x="3730250" y="1299208"/>
                </a:lnTo>
                <a:lnTo>
                  <a:pt x="3726739" y="1339004"/>
                </a:lnTo>
                <a:lnTo>
                  <a:pt x="3722057" y="1378799"/>
                </a:lnTo>
                <a:lnTo>
                  <a:pt x="3716205" y="1418595"/>
                </a:lnTo>
                <a:lnTo>
                  <a:pt x="3711523" y="1458391"/>
                </a:lnTo>
                <a:lnTo>
                  <a:pt x="3709182" y="1498186"/>
                </a:lnTo>
                <a:lnTo>
                  <a:pt x="3709182" y="1536811"/>
                </a:lnTo>
                <a:lnTo>
                  <a:pt x="3713864" y="1573096"/>
                </a:lnTo>
                <a:lnTo>
                  <a:pt x="3723228" y="1609380"/>
                </a:lnTo>
                <a:lnTo>
                  <a:pt x="3737273" y="1643323"/>
                </a:lnTo>
                <a:lnTo>
                  <a:pt x="3756000" y="1678437"/>
                </a:lnTo>
                <a:lnTo>
                  <a:pt x="3774728" y="1713550"/>
                </a:lnTo>
                <a:lnTo>
                  <a:pt x="3795796" y="1748664"/>
                </a:lnTo>
                <a:lnTo>
                  <a:pt x="3815694" y="1782608"/>
                </a:lnTo>
                <a:lnTo>
                  <a:pt x="3833250" y="1818892"/>
                </a:lnTo>
                <a:lnTo>
                  <a:pt x="3847296" y="1854005"/>
                </a:lnTo>
                <a:lnTo>
                  <a:pt x="3856660" y="1890290"/>
                </a:lnTo>
                <a:lnTo>
                  <a:pt x="3860171" y="1927744"/>
                </a:lnTo>
                <a:lnTo>
                  <a:pt x="3856660" y="1965199"/>
                </a:lnTo>
                <a:lnTo>
                  <a:pt x="3847296" y="2001483"/>
                </a:lnTo>
                <a:lnTo>
                  <a:pt x="3833250" y="2036597"/>
                </a:lnTo>
                <a:lnTo>
                  <a:pt x="3815694" y="2072881"/>
                </a:lnTo>
                <a:lnTo>
                  <a:pt x="3795796" y="2106824"/>
                </a:lnTo>
                <a:lnTo>
                  <a:pt x="3774728" y="2141938"/>
                </a:lnTo>
                <a:lnTo>
                  <a:pt x="3756000" y="2177052"/>
                </a:lnTo>
                <a:lnTo>
                  <a:pt x="3737273" y="2212166"/>
                </a:lnTo>
                <a:lnTo>
                  <a:pt x="3723228" y="2246109"/>
                </a:lnTo>
                <a:lnTo>
                  <a:pt x="3713864" y="2282393"/>
                </a:lnTo>
                <a:lnTo>
                  <a:pt x="3709182" y="2318677"/>
                </a:lnTo>
                <a:lnTo>
                  <a:pt x="3709182" y="2357302"/>
                </a:lnTo>
                <a:lnTo>
                  <a:pt x="3711523" y="2397098"/>
                </a:lnTo>
                <a:lnTo>
                  <a:pt x="3716205" y="2436894"/>
                </a:lnTo>
                <a:lnTo>
                  <a:pt x="3722057" y="2476689"/>
                </a:lnTo>
                <a:lnTo>
                  <a:pt x="3726739" y="2516485"/>
                </a:lnTo>
                <a:lnTo>
                  <a:pt x="3730250" y="2556280"/>
                </a:lnTo>
                <a:lnTo>
                  <a:pt x="3729080" y="2593735"/>
                </a:lnTo>
                <a:lnTo>
                  <a:pt x="3724398" y="2630019"/>
                </a:lnTo>
                <a:lnTo>
                  <a:pt x="3713864" y="2665133"/>
                </a:lnTo>
                <a:lnTo>
                  <a:pt x="3698648" y="2694394"/>
                </a:lnTo>
                <a:lnTo>
                  <a:pt x="3678750" y="2722485"/>
                </a:lnTo>
                <a:lnTo>
                  <a:pt x="3655341" y="2747065"/>
                </a:lnTo>
                <a:lnTo>
                  <a:pt x="3628420" y="2771645"/>
                </a:lnTo>
                <a:lnTo>
                  <a:pt x="3600329" y="2793883"/>
                </a:lnTo>
                <a:lnTo>
                  <a:pt x="3571068" y="2816122"/>
                </a:lnTo>
                <a:lnTo>
                  <a:pt x="3540636" y="2838361"/>
                </a:lnTo>
                <a:lnTo>
                  <a:pt x="3512545" y="2860599"/>
                </a:lnTo>
                <a:lnTo>
                  <a:pt x="3485624" y="2884009"/>
                </a:lnTo>
                <a:lnTo>
                  <a:pt x="3462215" y="2910929"/>
                </a:lnTo>
                <a:lnTo>
                  <a:pt x="3441147" y="2936679"/>
                </a:lnTo>
                <a:lnTo>
                  <a:pt x="3424760" y="2965941"/>
                </a:lnTo>
                <a:lnTo>
                  <a:pt x="3410715" y="2997543"/>
                </a:lnTo>
                <a:lnTo>
                  <a:pt x="3399010" y="3031486"/>
                </a:lnTo>
                <a:lnTo>
                  <a:pt x="3388476" y="3066600"/>
                </a:lnTo>
                <a:lnTo>
                  <a:pt x="3379113" y="3101714"/>
                </a:lnTo>
                <a:lnTo>
                  <a:pt x="3369749" y="3137998"/>
                </a:lnTo>
                <a:lnTo>
                  <a:pt x="3359215" y="3171941"/>
                </a:lnTo>
                <a:lnTo>
                  <a:pt x="3347510" y="3205885"/>
                </a:lnTo>
                <a:lnTo>
                  <a:pt x="3333465" y="3237487"/>
                </a:lnTo>
                <a:lnTo>
                  <a:pt x="3315908" y="3265578"/>
                </a:lnTo>
                <a:lnTo>
                  <a:pt x="3294840" y="3291328"/>
                </a:lnTo>
                <a:lnTo>
                  <a:pt x="3269090" y="3312396"/>
                </a:lnTo>
                <a:lnTo>
                  <a:pt x="3240999" y="3329953"/>
                </a:lnTo>
                <a:lnTo>
                  <a:pt x="3209396" y="3343999"/>
                </a:lnTo>
                <a:lnTo>
                  <a:pt x="3175453" y="3355703"/>
                </a:lnTo>
                <a:lnTo>
                  <a:pt x="3141510" y="3366237"/>
                </a:lnTo>
                <a:lnTo>
                  <a:pt x="3105226" y="3375601"/>
                </a:lnTo>
                <a:lnTo>
                  <a:pt x="3070112" y="3384965"/>
                </a:lnTo>
                <a:lnTo>
                  <a:pt x="3034998" y="3395499"/>
                </a:lnTo>
                <a:lnTo>
                  <a:pt x="3001055" y="3407203"/>
                </a:lnTo>
                <a:lnTo>
                  <a:pt x="2969452" y="3421249"/>
                </a:lnTo>
                <a:lnTo>
                  <a:pt x="2940191" y="3437635"/>
                </a:lnTo>
                <a:lnTo>
                  <a:pt x="2914441" y="3458704"/>
                </a:lnTo>
                <a:lnTo>
                  <a:pt x="2887520" y="3482113"/>
                </a:lnTo>
                <a:lnTo>
                  <a:pt x="2864111" y="3509033"/>
                </a:lnTo>
                <a:lnTo>
                  <a:pt x="2841872" y="3537124"/>
                </a:lnTo>
                <a:lnTo>
                  <a:pt x="2819634" y="3566386"/>
                </a:lnTo>
                <a:lnTo>
                  <a:pt x="2797395" y="3595647"/>
                </a:lnTo>
                <a:lnTo>
                  <a:pt x="2775156" y="3623738"/>
                </a:lnTo>
                <a:lnTo>
                  <a:pt x="2750577" y="3650659"/>
                </a:lnTo>
                <a:lnTo>
                  <a:pt x="2725997" y="3674068"/>
                </a:lnTo>
                <a:lnTo>
                  <a:pt x="2697906" y="3693966"/>
                </a:lnTo>
                <a:lnTo>
                  <a:pt x="2668644" y="3709182"/>
                </a:lnTo>
                <a:lnTo>
                  <a:pt x="2633531" y="3719716"/>
                </a:lnTo>
                <a:lnTo>
                  <a:pt x="2597247" y="3724398"/>
                </a:lnTo>
                <a:lnTo>
                  <a:pt x="2559792" y="3725568"/>
                </a:lnTo>
                <a:lnTo>
                  <a:pt x="2519996" y="3722057"/>
                </a:lnTo>
                <a:lnTo>
                  <a:pt x="2480201" y="3717375"/>
                </a:lnTo>
                <a:lnTo>
                  <a:pt x="2440405" y="3711523"/>
                </a:lnTo>
                <a:lnTo>
                  <a:pt x="2400610" y="3706841"/>
                </a:lnTo>
                <a:lnTo>
                  <a:pt x="2360814" y="3704500"/>
                </a:lnTo>
                <a:lnTo>
                  <a:pt x="2322189" y="3704500"/>
                </a:lnTo>
                <a:lnTo>
                  <a:pt x="2285905" y="3709182"/>
                </a:lnTo>
                <a:lnTo>
                  <a:pt x="2248450" y="3718545"/>
                </a:lnTo>
                <a:lnTo>
                  <a:pt x="2214507" y="3732591"/>
                </a:lnTo>
                <a:lnTo>
                  <a:pt x="2179393" y="3751318"/>
                </a:lnTo>
                <a:lnTo>
                  <a:pt x="2144279" y="3770045"/>
                </a:lnTo>
                <a:lnTo>
                  <a:pt x="2109166" y="3791114"/>
                </a:lnTo>
                <a:lnTo>
                  <a:pt x="2075222" y="3811011"/>
                </a:lnTo>
                <a:lnTo>
                  <a:pt x="2038938" y="3828568"/>
                </a:lnTo>
                <a:lnTo>
                  <a:pt x="2003824" y="3842614"/>
                </a:lnTo>
                <a:lnTo>
                  <a:pt x="1967540" y="3851978"/>
                </a:lnTo>
                <a:lnTo>
                  <a:pt x="1930086" y="3855489"/>
                </a:lnTo>
                <a:lnTo>
                  <a:pt x="1892631" y="3851978"/>
                </a:lnTo>
                <a:lnTo>
                  <a:pt x="1856347" y="3842614"/>
                </a:lnTo>
                <a:lnTo>
                  <a:pt x="1821233" y="3828568"/>
                </a:lnTo>
                <a:lnTo>
                  <a:pt x="1784949" y="3811011"/>
                </a:lnTo>
                <a:lnTo>
                  <a:pt x="1751005" y="3791114"/>
                </a:lnTo>
                <a:lnTo>
                  <a:pt x="1715892" y="3770045"/>
                </a:lnTo>
                <a:lnTo>
                  <a:pt x="1680778" y="3751318"/>
                </a:lnTo>
                <a:lnTo>
                  <a:pt x="1645664" y="3732591"/>
                </a:lnTo>
                <a:lnTo>
                  <a:pt x="1610550" y="3718545"/>
                </a:lnTo>
                <a:lnTo>
                  <a:pt x="1574266" y="3709182"/>
                </a:lnTo>
                <a:lnTo>
                  <a:pt x="1537982" y="3704500"/>
                </a:lnTo>
                <a:lnTo>
                  <a:pt x="1499357" y="3704500"/>
                </a:lnTo>
                <a:lnTo>
                  <a:pt x="1459561" y="3706841"/>
                </a:lnTo>
                <a:lnTo>
                  <a:pt x="1419766" y="3711523"/>
                </a:lnTo>
                <a:lnTo>
                  <a:pt x="1379970" y="3717375"/>
                </a:lnTo>
                <a:lnTo>
                  <a:pt x="1340175" y="3722057"/>
                </a:lnTo>
                <a:lnTo>
                  <a:pt x="1300379" y="3725568"/>
                </a:lnTo>
                <a:lnTo>
                  <a:pt x="1262924" y="3724398"/>
                </a:lnTo>
                <a:lnTo>
                  <a:pt x="1226640" y="3719716"/>
                </a:lnTo>
                <a:lnTo>
                  <a:pt x="1191526" y="3709182"/>
                </a:lnTo>
                <a:lnTo>
                  <a:pt x="1162265" y="3693966"/>
                </a:lnTo>
                <a:lnTo>
                  <a:pt x="1134174" y="3674068"/>
                </a:lnTo>
                <a:lnTo>
                  <a:pt x="1109594" y="3650659"/>
                </a:lnTo>
                <a:lnTo>
                  <a:pt x="1085015" y="3623738"/>
                </a:lnTo>
                <a:lnTo>
                  <a:pt x="1062776" y="3595647"/>
                </a:lnTo>
                <a:lnTo>
                  <a:pt x="1040537" y="3566386"/>
                </a:lnTo>
                <a:lnTo>
                  <a:pt x="1018299" y="3537124"/>
                </a:lnTo>
                <a:lnTo>
                  <a:pt x="996060" y="3509033"/>
                </a:lnTo>
                <a:lnTo>
                  <a:pt x="972651" y="3482113"/>
                </a:lnTo>
                <a:lnTo>
                  <a:pt x="945730" y="3458704"/>
                </a:lnTo>
                <a:lnTo>
                  <a:pt x="919980" y="3437635"/>
                </a:lnTo>
                <a:lnTo>
                  <a:pt x="890719" y="3421249"/>
                </a:lnTo>
                <a:lnTo>
                  <a:pt x="859116" y="3407203"/>
                </a:lnTo>
                <a:lnTo>
                  <a:pt x="825173" y="3395499"/>
                </a:lnTo>
                <a:lnTo>
                  <a:pt x="790059" y="3384965"/>
                </a:lnTo>
                <a:lnTo>
                  <a:pt x="754946" y="3375601"/>
                </a:lnTo>
                <a:lnTo>
                  <a:pt x="718662" y="3366237"/>
                </a:lnTo>
                <a:lnTo>
                  <a:pt x="684718" y="3355703"/>
                </a:lnTo>
                <a:lnTo>
                  <a:pt x="650775" y="3343999"/>
                </a:lnTo>
                <a:lnTo>
                  <a:pt x="619173" y="3329953"/>
                </a:lnTo>
                <a:lnTo>
                  <a:pt x="591082" y="3312396"/>
                </a:lnTo>
                <a:lnTo>
                  <a:pt x="565332" y="3291328"/>
                </a:lnTo>
                <a:lnTo>
                  <a:pt x="544263" y="3265578"/>
                </a:lnTo>
                <a:lnTo>
                  <a:pt x="526706" y="3237487"/>
                </a:lnTo>
                <a:lnTo>
                  <a:pt x="512661" y="3205885"/>
                </a:lnTo>
                <a:lnTo>
                  <a:pt x="500956" y="3171941"/>
                </a:lnTo>
                <a:lnTo>
                  <a:pt x="490422" y="3137998"/>
                </a:lnTo>
                <a:lnTo>
                  <a:pt x="481059" y="3101714"/>
                </a:lnTo>
                <a:lnTo>
                  <a:pt x="471695" y="3066600"/>
                </a:lnTo>
                <a:lnTo>
                  <a:pt x="461161" y="3031486"/>
                </a:lnTo>
                <a:lnTo>
                  <a:pt x="449456" y="2997543"/>
                </a:lnTo>
                <a:lnTo>
                  <a:pt x="435411" y="2965941"/>
                </a:lnTo>
                <a:lnTo>
                  <a:pt x="419024" y="2936679"/>
                </a:lnTo>
                <a:lnTo>
                  <a:pt x="397956" y="2910929"/>
                </a:lnTo>
                <a:lnTo>
                  <a:pt x="374547" y="2884009"/>
                </a:lnTo>
                <a:lnTo>
                  <a:pt x="347626" y="2860599"/>
                </a:lnTo>
                <a:lnTo>
                  <a:pt x="318365" y="2838361"/>
                </a:lnTo>
                <a:lnTo>
                  <a:pt x="289103" y="2816122"/>
                </a:lnTo>
                <a:lnTo>
                  <a:pt x="259842" y="2793883"/>
                </a:lnTo>
                <a:lnTo>
                  <a:pt x="231751" y="2771645"/>
                </a:lnTo>
                <a:lnTo>
                  <a:pt x="204830" y="2747065"/>
                </a:lnTo>
                <a:lnTo>
                  <a:pt x="181421" y="2722485"/>
                </a:lnTo>
                <a:lnTo>
                  <a:pt x="161523" y="2694394"/>
                </a:lnTo>
                <a:lnTo>
                  <a:pt x="146308" y="2665133"/>
                </a:lnTo>
                <a:lnTo>
                  <a:pt x="135773" y="2630019"/>
                </a:lnTo>
                <a:lnTo>
                  <a:pt x="131092" y="2593735"/>
                </a:lnTo>
                <a:lnTo>
                  <a:pt x="129921" y="2556280"/>
                </a:lnTo>
                <a:lnTo>
                  <a:pt x="133432" y="2516485"/>
                </a:lnTo>
                <a:lnTo>
                  <a:pt x="138114" y="2476689"/>
                </a:lnTo>
                <a:lnTo>
                  <a:pt x="143967" y="2436894"/>
                </a:lnTo>
                <a:lnTo>
                  <a:pt x="148648" y="2397098"/>
                </a:lnTo>
                <a:lnTo>
                  <a:pt x="150989" y="2357302"/>
                </a:lnTo>
                <a:lnTo>
                  <a:pt x="150989" y="2318677"/>
                </a:lnTo>
                <a:lnTo>
                  <a:pt x="146308" y="2282393"/>
                </a:lnTo>
                <a:lnTo>
                  <a:pt x="136944" y="2246109"/>
                </a:lnTo>
                <a:lnTo>
                  <a:pt x="122898" y="2212166"/>
                </a:lnTo>
                <a:lnTo>
                  <a:pt x="105341" y="2177052"/>
                </a:lnTo>
                <a:lnTo>
                  <a:pt x="85444" y="2141938"/>
                </a:lnTo>
                <a:lnTo>
                  <a:pt x="64375" y="2106824"/>
                </a:lnTo>
                <a:lnTo>
                  <a:pt x="44478" y="2072881"/>
                </a:lnTo>
                <a:lnTo>
                  <a:pt x="26921" y="2036597"/>
                </a:lnTo>
                <a:lnTo>
                  <a:pt x="12875" y="2001483"/>
                </a:lnTo>
                <a:lnTo>
                  <a:pt x="3512" y="1965199"/>
                </a:lnTo>
                <a:lnTo>
                  <a:pt x="0" y="1927744"/>
                </a:lnTo>
                <a:lnTo>
                  <a:pt x="3512" y="1890290"/>
                </a:lnTo>
                <a:lnTo>
                  <a:pt x="12875" y="1854005"/>
                </a:lnTo>
                <a:lnTo>
                  <a:pt x="26921" y="1818892"/>
                </a:lnTo>
                <a:lnTo>
                  <a:pt x="44478" y="1782608"/>
                </a:lnTo>
                <a:lnTo>
                  <a:pt x="64375" y="1748664"/>
                </a:lnTo>
                <a:lnTo>
                  <a:pt x="85444" y="1713550"/>
                </a:lnTo>
                <a:lnTo>
                  <a:pt x="105341" y="1678437"/>
                </a:lnTo>
                <a:lnTo>
                  <a:pt x="122898" y="1643323"/>
                </a:lnTo>
                <a:lnTo>
                  <a:pt x="136944" y="1609380"/>
                </a:lnTo>
                <a:lnTo>
                  <a:pt x="146308" y="1573096"/>
                </a:lnTo>
                <a:lnTo>
                  <a:pt x="150989" y="1536811"/>
                </a:lnTo>
                <a:lnTo>
                  <a:pt x="150989" y="1498186"/>
                </a:lnTo>
                <a:lnTo>
                  <a:pt x="148648" y="1458391"/>
                </a:lnTo>
                <a:lnTo>
                  <a:pt x="143967" y="1418595"/>
                </a:lnTo>
                <a:lnTo>
                  <a:pt x="138114" y="1378799"/>
                </a:lnTo>
                <a:lnTo>
                  <a:pt x="133432" y="1339004"/>
                </a:lnTo>
                <a:lnTo>
                  <a:pt x="129921" y="1299208"/>
                </a:lnTo>
                <a:lnTo>
                  <a:pt x="131092" y="1261754"/>
                </a:lnTo>
                <a:lnTo>
                  <a:pt x="135773" y="1225469"/>
                </a:lnTo>
                <a:lnTo>
                  <a:pt x="146308" y="1190356"/>
                </a:lnTo>
                <a:lnTo>
                  <a:pt x="161523" y="1161094"/>
                </a:lnTo>
                <a:lnTo>
                  <a:pt x="181421" y="1133003"/>
                </a:lnTo>
                <a:lnTo>
                  <a:pt x="204830" y="1108424"/>
                </a:lnTo>
                <a:lnTo>
                  <a:pt x="231751" y="1083844"/>
                </a:lnTo>
                <a:lnTo>
                  <a:pt x="259842" y="1061605"/>
                </a:lnTo>
                <a:lnTo>
                  <a:pt x="289103" y="1039367"/>
                </a:lnTo>
                <a:lnTo>
                  <a:pt x="318365" y="1017128"/>
                </a:lnTo>
                <a:lnTo>
                  <a:pt x="347626" y="994889"/>
                </a:lnTo>
                <a:lnTo>
                  <a:pt x="374547" y="971480"/>
                </a:lnTo>
                <a:lnTo>
                  <a:pt x="397956" y="944560"/>
                </a:lnTo>
                <a:lnTo>
                  <a:pt x="419024" y="918809"/>
                </a:lnTo>
                <a:lnTo>
                  <a:pt x="435411" y="889548"/>
                </a:lnTo>
                <a:lnTo>
                  <a:pt x="449456" y="857946"/>
                </a:lnTo>
                <a:lnTo>
                  <a:pt x="461161" y="824002"/>
                </a:lnTo>
                <a:lnTo>
                  <a:pt x="471695" y="788889"/>
                </a:lnTo>
                <a:lnTo>
                  <a:pt x="481059" y="753775"/>
                </a:lnTo>
                <a:lnTo>
                  <a:pt x="490422" y="717491"/>
                </a:lnTo>
                <a:lnTo>
                  <a:pt x="500956" y="683547"/>
                </a:lnTo>
                <a:lnTo>
                  <a:pt x="512661" y="649604"/>
                </a:lnTo>
                <a:lnTo>
                  <a:pt x="526706" y="618002"/>
                </a:lnTo>
                <a:lnTo>
                  <a:pt x="544263" y="589911"/>
                </a:lnTo>
                <a:lnTo>
                  <a:pt x="565332" y="564161"/>
                </a:lnTo>
                <a:lnTo>
                  <a:pt x="591082" y="543092"/>
                </a:lnTo>
                <a:lnTo>
                  <a:pt x="619173" y="525535"/>
                </a:lnTo>
                <a:lnTo>
                  <a:pt x="650775" y="511490"/>
                </a:lnTo>
                <a:lnTo>
                  <a:pt x="684718" y="499785"/>
                </a:lnTo>
                <a:lnTo>
                  <a:pt x="718662" y="489251"/>
                </a:lnTo>
                <a:lnTo>
                  <a:pt x="754946" y="479888"/>
                </a:lnTo>
                <a:lnTo>
                  <a:pt x="790059" y="470524"/>
                </a:lnTo>
                <a:lnTo>
                  <a:pt x="825173" y="459990"/>
                </a:lnTo>
                <a:lnTo>
                  <a:pt x="859116" y="448285"/>
                </a:lnTo>
                <a:lnTo>
                  <a:pt x="890719" y="434240"/>
                </a:lnTo>
                <a:lnTo>
                  <a:pt x="919980" y="417853"/>
                </a:lnTo>
                <a:lnTo>
                  <a:pt x="945730" y="396785"/>
                </a:lnTo>
                <a:lnTo>
                  <a:pt x="972651" y="373376"/>
                </a:lnTo>
                <a:lnTo>
                  <a:pt x="996060" y="346455"/>
                </a:lnTo>
                <a:lnTo>
                  <a:pt x="1018299" y="318364"/>
                </a:lnTo>
                <a:lnTo>
                  <a:pt x="1040537" y="289103"/>
                </a:lnTo>
                <a:lnTo>
                  <a:pt x="1062776" y="259841"/>
                </a:lnTo>
                <a:lnTo>
                  <a:pt x="1085015" y="231750"/>
                </a:lnTo>
                <a:lnTo>
                  <a:pt x="1109594" y="204830"/>
                </a:lnTo>
                <a:lnTo>
                  <a:pt x="1134174" y="181421"/>
                </a:lnTo>
                <a:lnTo>
                  <a:pt x="1162265" y="161523"/>
                </a:lnTo>
                <a:lnTo>
                  <a:pt x="1191526" y="146307"/>
                </a:lnTo>
                <a:lnTo>
                  <a:pt x="1226640" y="135773"/>
                </a:lnTo>
                <a:lnTo>
                  <a:pt x="1262924" y="131091"/>
                </a:lnTo>
                <a:lnTo>
                  <a:pt x="1300379" y="129921"/>
                </a:lnTo>
                <a:lnTo>
                  <a:pt x="1340175" y="133432"/>
                </a:lnTo>
                <a:lnTo>
                  <a:pt x="1379970" y="138114"/>
                </a:lnTo>
                <a:lnTo>
                  <a:pt x="1419766" y="143966"/>
                </a:lnTo>
                <a:lnTo>
                  <a:pt x="1459561" y="148648"/>
                </a:lnTo>
                <a:lnTo>
                  <a:pt x="1499357" y="150989"/>
                </a:lnTo>
                <a:lnTo>
                  <a:pt x="1537982" y="150989"/>
                </a:lnTo>
                <a:lnTo>
                  <a:pt x="1574266" y="146307"/>
                </a:lnTo>
                <a:lnTo>
                  <a:pt x="1610550" y="136943"/>
                </a:lnTo>
                <a:lnTo>
                  <a:pt x="1645664" y="122898"/>
                </a:lnTo>
                <a:lnTo>
                  <a:pt x="1680778" y="104171"/>
                </a:lnTo>
                <a:lnTo>
                  <a:pt x="1715892" y="85443"/>
                </a:lnTo>
                <a:lnTo>
                  <a:pt x="1751005" y="64375"/>
                </a:lnTo>
                <a:lnTo>
                  <a:pt x="1784949" y="44477"/>
                </a:lnTo>
                <a:lnTo>
                  <a:pt x="1821233" y="26920"/>
                </a:lnTo>
                <a:lnTo>
                  <a:pt x="1856347" y="12875"/>
                </a:lnTo>
                <a:lnTo>
                  <a:pt x="1892631" y="351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2963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lo">
  <a:themeElements>
    <a:clrScheme name="Badge">
      <a:dk1>
        <a:sysClr val="windowText" lastClr="000000"/>
      </a:dk1>
      <a:lt1>
        <a:sysClr val="window" lastClr="FFFFFF"/>
      </a:lt1>
      <a:dk2>
        <a:srgbClr val="2A1A00"/>
      </a:dk2>
      <a:lt2>
        <a:srgbClr val="F3F3F2"/>
      </a:lt2>
      <a:accent1>
        <a:srgbClr val="F8B323"/>
      </a:accent1>
      <a:accent2>
        <a:srgbClr val="656A59"/>
      </a:accent2>
      <a:accent3>
        <a:srgbClr val="46B2B5"/>
      </a:accent3>
      <a:accent4>
        <a:srgbClr val="8CAA7E"/>
      </a:accent4>
      <a:accent5>
        <a:srgbClr val="D36F68"/>
      </a:accent5>
      <a:accent6>
        <a:srgbClr val="826276"/>
      </a:accent6>
      <a:hlink>
        <a:srgbClr val="46B2B5"/>
      </a:hlink>
      <a:folHlink>
        <a:srgbClr val="A46694"/>
      </a:folHlink>
    </a:clrScheme>
    <a:fontScheme name="Badge">
      <a:majorFont>
        <a:latin typeface="Impact" panose="020B080603090205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メイリオ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06[[fn=Selo]]</Template>
  <TotalTime>1133</TotalTime>
  <Words>789</Words>
  <Application>Microsoft Office PowerPoint</Application>
  <PresentationFormat>Widescreen</PresentationFormat>
  <Paragraphs>155</Paragraphs>
  <Slides>2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1</vt:i4>
      </vt:variant>
    </vt:vector>
  </HeadingPairs>
  <TitlesOfParts>
    <vt:vector size="28" baseType="lpstr">
      <vt:lpstr>Aharoni</vt:lpstr>
      <vt:lpstr>Arial</vt:lpstr>
      <vt:lpstr>Calibri</vt:lpstr>
      <vt:lpstr>Gill Sans MT</vt:lpstr>
      <vt:lpstr>Impact</vt:lpstr>
      <vt:lpstr>Selo</vt:lpstr>
      <vt:lpstr>Slide do think-cell</vt:lpstr>
      <vt:lpstr>Sistema de recomendação Saideira</vt:lpstr>
      <vt:lpstr>Integrantes da equipe</vt:lpstr>
      <vt:lpstr>Integrantes da equipe</vt:lpstr>
      <vt:lpstr>Resolução do pROBLEMA</vt:lpstr>
      <vt:lpstr>Envolvidos na solução</vt:lpstr>
      <vt:lpstr>Fluxo da recomendação</vt:lpstr>
      <vt:lpstr>Fluxograma da recomendação</vt:lpstr>
      <vt:lpstr>O que pretendemos melhorar com a solução do problema?</vt:lpstr>
      <vt:lpstr>KPI Medidos</vt:lpstr>
      <vt:lpstr>sistema de recomendação saideira</vt:lpstr>
      <vt:lpstr>VISUALIZAÇÃO DA SOLUÇÃO – Modulo recomendação apriori</vt:lpstr>
      <vt:lpstr>VISUALIZAÇÃO DA SOLUÇÃO – Modulo recomendação dIRETA</vt:lpstr>
      <vt:lpstr>VISUALIZAÇÃO DA SOLUÇÃO – Modulo recomendação dIRETA</vt:lpstr>
      <vt:lpstr>Visualização da recomendação – Módulo Sazonal </vt:lpstr>
      <vt:lpstr>Esboço de tela – Visualização da recomendação</vt:lpstr>
      <vt:lpstr>canibalização</vt:lpstr>
      <vt:lpstr>canibalização</vt:lpstr>
      <vt:lpstr>Canibalização - cálculos</vt:lpstr>
      <vt:lpstr>Trabalhos futuros</vt:lpstr>
      <vt:lpstr>E ai, Bora para recomendação saideira</vt:lpstr>
      <vt:lpstr>github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stema de recomendação Saideira</dc:title>
  <dc:creator>renan craveiro</dc:creator>
  <cp:lastModifiedBy>renan craveiro</cp:lastModifiedBy>
  <cp:revision>9</cp:revision>
  <dcterms:created xsi:type="dcterms:W3CDTF">2021-10-20T20:48:50Z</dcterms:created>
  <dcterms:modified xsi:type="dcterms:W3CDTF">2021-10-27T18:08:09Z</dcterms:modified>
</cp:coreProperties>
</file>